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charts/chart25.xml" ContentType="application/vnd.openxmlformats-officedocument.drawingml.chart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charts/chart28.xml" ContentType="application/vnd.openxmlformats-officedocument.drawingml.chart+xml"/>
  <Override PartName="/ppt/charts/chart29.xml" ContentType="application/vnd.openxmlformats-officedocument.drawingml.chart+xml"/>
  <Override PartName="/ppt/charts/chart30.xml" ContentType="application/vnd.openxmlformats-officedocument.drawingml.chart+xml"/>
  <Override PartName="/ppt/charts/chart31.xml" ContentType="application/vnd.openxmlformats-officedocument.drawingml.chart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charts/chart32.xml" ContentType="application/vnd.openxmlformats-officedocument.drawingml.chart+xml"/>
  <Override PartName="/ppt/charts/chart33.xml" ContentType="application/vnd.openxmlformats-officedocument.drawingml.chart+xml"/>
  <Override PartName="/ppt/charts/chart34.xml" ContentType="application/vnd.openxmlformats-officedocument.drawingml.chart+xml"/>
  <Override PartName="/ppt/charts/chart35.xml" ContentType="application/vnd.openxmlformats-officedocument.drawingml.chart+xml"/>
  <Override PartName="/ppt/charts/chart36.xml" ContentType="application/vnd.openxmlformats-officedocument.drawingml.chart+xml"/>
  <Override PartName="/ppt/charts/chart37.xml" ContentType="application/vnd.openxmlformats-officedocument.drawingml.chart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charts/chart38.xml" ContentType="application/vnd.openxmlformats-officedocument.drawingml.chart+xml"/>
  <Override PartName="/ppt/charts/chart39.xml" ContentType="application/vnd.openxmlformats-officedocument.drawingml.chart+xml"/>
  <Override PartName="/ppt/charts/chart40.xml" ContentType="application/vnd.openxmlformats-officedocument.drawingml.chart+xml"/>
  <Override PartName="/ppt/charts/chart41.xml" ContentType="application/vnd.openxmlformats-officedocument.drawingml.chart+xml"/>
  <Override PartName="/ppt/charts/chart42.xml" ContentType="application/vnd.openxmlformats-officedocument.drawingml.chart+xml"/>
  <Override PartName="/ppt/charts/chart43.xml" ContentType="application/vnd.openxmlformats-officedocument.drawingml.chart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charts/chart44.xml" ContentType="application/vnd.openxmlformats-officedocument.drawingml.chart+xml"/>
  <Override PartName="/ppt/charts/chart45.xml" ContentType="application/vnd.openxmlformats-officedocument.drawingml.chart+xml"/>
  <Override PartName="/ppt/charts/chart46.xml" ContentType="application/vnd.openxmlformats-officedocument.drawingml.chart+xml"/>
  <Override PartName="/ppt/charts/chart47.xml" ContentType="application/vnd.openxmlformats-officedocument.drawingml.chart+xml"/>
  <Override PartName="/ppt/charts/chart48.xml" ContentType="application/vnd.openxmlformats-officedocument.drawingml.chart+xml"/>
  <Override PartName="/ppt/charts/chart49.xml" ContentType="application/vnd.openxmlformats-officedocument.drawingml.chart+xml"/>
  <Override PartName="/ppt/charts/chart50.xml" ContentType="application/vnd.openxmlformats-officedocument.drawingml.chart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tags/tag914.xml" ContentType="application/vnd.openxmlformats-officedocument.presentationml.tags+xml"/>
  <Override PartName="/ppt/tags/tag915.xml" ContentType="application/vnd.openxmlformats-officedocument.presentationml.tags+xml"/>
  <Override PartName="/ppt/tags/tag916.xml" ContentType="application/vnd.openxmlformats-officedocument.presentationml.tags+xml"/>
  <Override PartName="/ppt/charts/chart51.xml" ContentType="application/vnd.openxmlformats-officedocument.drawingml.chart+xml"/>
  <Override PartName="/ppt/charts/chart52.xml" ContentType="application/vnd.openxmlformats-officedocument.drawingml.chart+xml"/>
  <Override PartName="/ppt/charts/chart53.xml" ContentType="application/vnd.openxmlformats-officedocument.drawingml.chart+xml"/>
  <Override PartName="/ppt/charts/chart54.xml" ContentType="application/vnd.openxmlformats-officedocument.drawingml.chart+xml"/>
  <Override PartName="/ppt/tags/tag917.xml" ContentType="application/vnd.openxmlformats-officedocument.presentationml.tags+xml"/>
  <Override PartName="/ppt/tags/tag918.xml" ContentType="application/vnd.openxmlformats-officedocument.presentationml.tags+xml"/>
  <Override PartName="/ppt/tags/tag919.xml" ContentType="application/vnd.openxmlformats-officedocument.presentationml.tags+xml"/>
  <Override PartName="/ppt/tags/tag920.xml" ContentType="application/vnd.openxmlformats-officedocument.presentationml.tags+xml"/>
  <Override PartName="/ppt/tags/tag921.xml" ContentType="application/vnd.openxmlformats-officedocument.presentationml.tags+xml"/>
  <Override PartName="/ppt/tags/tag922.xml" ContentType="application/vnd.openxmlformats-officedocument.presentationml.tags+xml"/>
  <Override PartName="/ppt/tags/tag923.xml" ContentType="application/vnd.openxmlformats-officedocument.presentationml.tags+xml"/>
  <Override PartName="/ppt/tags/tag924.xml" ContentType="application/vnd.openxmlformats-officedocument.presentationml.tags+xml"/>
  <Override PartName="/ppt/tags/tag92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3648" r:id="rId1"/>
  </p:sldMasterIdLst>
  <p:notesMasterIdLst>
    <p:notesMasterId r:id="rId54"/>
  </p:notesMasterIdLst>
  <p:sldIdLst>
    <p:sldId id="256" r:id="rId2"/>
    <p:sldId id="1722" r:id="rId3"/>
    <p:sldId id="259" r:id="rId4"/>
    <p:sldId id="265" r:id="rId5"/>
    <p:sldId id="303" r:id="rId6"/>
    <p:sldId id="304" r:id="rId7"/>
    <p:sldId id="266" r:id="rId8"/>
    <p:sldId id="1715" r:id="rId9"/>
    <p:sldId id="268" r:id="rId10"/>
    <p:sldId id="274" r:id="rId11"/>
    <p:sldId id="270" r:id="rId12"/>
    <p:sldId id="1690" r:id="rId13"/>
    <p:sldId id="1689" r:id="rId14"/>
    <p:sldId id="1691" r:id="rId15"/>
    <p:sldId id="1692" r:id="rId16"/>
    <p:sldId id="275" r:id="rId17"/>
    <p:sldId id="289" r:id="rId18"/>
    <p:sldId id="290" r:id="rId19"/>
    <p:sldId id="291" r:id="rId20"/>
    <p:sldId id="1693" r:id="rId21"/>
    <p:sldId id="276" r:id="rId22"/>
    <p:sldId id="271" r:id="rId23"/>
    <p:sldId id="1694" r:id="rId24"/>
    <p:sldId id="1695" r:id="rId25"/>
    <p:sldId id="1717" r:id="rId26"/>
    <p:sldId id="1696" r:id="rId27"/>
    <p:sldId id="1697" r:id="rId28"/>
    <p:sldId id="1698" r:id="rId29"/>
    <p:sldId id="1699" r:id="rId30"/>
    <p:sldId id="1700" r:id="rId31"/>
    <p:sldId id="1718" r:id="rId32"/>
    <p:sldId id="1701" r:id="rId33"/>
    <p:sldId id="1703" r:id="rId34"/>
    <p:sldId id="1711" r:id="rId35"/>
    <p:sldId id="282" r:id="rId36"/>
    <p:sldId id="283" r:id="rId37"/>
    <p:sldId id="1704" r:id="rId38"/>
    <p:sldId id="1705" r:id="rId39"/>
    <p:sldId id="1706" r:id="rId40"/>
    <p:sldId id="1707" r:id="rId41"/>
    <p:sldId id="1712" r:id="rId42"/>
    <p:sldId id="1708" r:id="rId43"/>
    <p:sldId id="1709" r:id="rId44"/>
    <p:sldId id="1713" r:id="rId45"/>
    <p:sldId id="1710" r:id="rId46"/>
    <p:sldId id="293" r:id="rId47"/>
    <p:sldId id="1716" r:id="rId48"/>
    <p:sldId id="1720" r:id="rId49"/>
    <p:sldId id="1721" r:id="rId50"/>
    <p:sldId id="1725" r:id="rId51"/>
    <p:sldId id="1723" r:id="rId52"/>
    <p:sldId id="1724" r:id="rId53"/>
  </p:sldIdLst>
  <p:sldSz cx="12192000" cy="6858000"/>
  <p:notesSz cx="6858000" cy="9144000"/>
  <p:embeddedFontLst>
    <p:embeddedFont>
      <p:font typeface="Bahnschrift SemiBold SemiConden" panose="020B0502040204020203" pitchFamily="34" charset="0"/>
      <p:bold r:id="rId55"/>
    </p:embeddedFont>
    <p:embeddedFont>
      <p:font typeface="Bahnschrift SemiLight Condensed" panose="020B0502040204020203" pitchFamily="34" charset="0"/>
      <p:regular r:id="rId56"/>
    </p:embeddedFont>
    <p:embeddedFont>
      <p:font typeface="Calibri" panose="020F0502020204030204" pitchFamily="34" charset="0"/>
      <p:regular r:id="rId57"/>
      <p:bold r:id="rId58"/>
      <p:italic r:id="rId59"/>
      <p:boldItalic r:id="rId60"/>
    </p:embeddedFont>
    <p:embeddedFont>
      <p:font typeface="Calibri Light" panose="020F0302020204030204" pitchFamily="34" charset="0"/>
      <p:regular r:id="rId61"/>
      <p:italic r:id="rId62"/>
    </p:embeddedFont>
    <p:embeddedFont>
      <p:font typeface="ITC Avant Garde Pro Bk" panose="020B0502020202020204" pitchFamily="34" charset="0"/>
      <p:regular r:id="rId63"/>
    </p:embeddedFont>
    <p:embeddedFont>
      <p:font typeface="ITC Avant Garde Pro Md" panose="020B0602020202020204" pitchFamily="34" charset="0"/>
      <p:regular r:id="rId64"/>
      <p:bold r:id="rId65"/>
    </p:embeddedFont>
    <p:embeddedFont>
      <p:font typeface="Verdana" panose="020B0604030504040204" pitchFamily="34" charset="0"/>
      <p:regular r:id="rId66"/>
      <p:bold r:id="rId67"/>
      <p:italic r:id="rId68"/>
      <p:boldItalic r:id="rId69"/>
    </p:embeddedFont>
  </p:embeddedFontLst>
  <p:custDataLst>
    <p:tags r:id="rId7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B262A"/>
    <a:srgbClr val="B51B4F"/>
    <a:srgbClr val="F7F7F7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73" d="100"/>
          <a:sy n="73" d="100"/>
        </p:scale>
        <p:origin x="618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font" Target="fonts/font9.fntdata"/><Relationship Id="rId68" Type="http://schemas.openxmlformats.org/officeDocument/2006/relationships/font" Target="fonts/font14.fntdata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font" Target="fonts/font4.fntdata"/><Relationship Id="rId66" Type="http://schemas.openxmlformats.org/officeDocument/2006/relationships/font" Target="fonts/font12.fntdata"/><Relationship Id="rId74" Type="http://schemas.openxmlformats.org/officeDocument/2006/relationships/tableStyles" Target="tableStyles.xml"/><Relationship Id="rId5" Type="http://schemas.openxmlformats.org/officeDocument/2006/relationships/slide" Target="slides/slide4.xml"/><Relationship Id="rId61" Type="http://schemas.openxmlformats.org/officeDocument/2006/relationships/font" Target="fonts/font7.fntdata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font" Target="fonts/font2.fntdata"/><Relationship Id="rId64" Type="http://schemas.openxmlformats.org/officeDocument/2006/relationships/font" Target="fonts/font10.fntdata"/><Relationship Id="rId69" Type="http://schemas.openxmlformats.org/officeDocument/2006/relationships/font" Target="fonts/font15.fntdata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viewProps" Target="view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font" Target="fonts/font5.fntdata"/><Relationship Id="rId67" Type="http://schemas.openxmlformats.org/officeDocument/2006/relationships/font" Target="fonts/font13.fntdata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notesMaster" Target="notesMasters/notesMaster1.xml"/><Relationship Id="rId62" Type="http://schemas.openxmlformats.org/officeDocument/2006/relationships/font" Target="fonts/font8.fntdata"/><Relationship Id="rId7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font" Target="fonts/font3.fntdata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font" Target="fonts/font6.fntdata"/><Relationship Id="rId65" Type="http://schemas.openxmlformats.org/officeDocument/2006/relationships/font" Target="fonts/font11.fntdata"/><Relationship Id="rId73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font" Target="fonts/font1.fntdata"/><Relationship Id="rId7" Type="http://schemas.openxmlformats.org/officeDocument/2006/relationships/slide" Target="slides/slide6.xml"/><Relationship Id="rId71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.xlsb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0.xlsb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1.xlsb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2.xlsb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3.xlsb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4.xlsb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5.xlsb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6.xlsb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7.xlsb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8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9.xlsb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0.xlsb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1.xlsb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2.xlsb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3.xlsb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4.xlsb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5.xlsb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6.xlsb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7.xlsb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8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9.xlsb"/></Relationships>
</file>

<file path=ppt/charts/_rels/chart3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0.xlsb"/></Relationships>
</file>

<file path=ppt/charts/_rels/chart3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1.xlsb"/></Relationships>
</file>

<file path=ppt/charts/_rels/chart3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2.xlsb"/></Relationships>
</file>

<file path=ppt/charts/_rels/chart3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3.xlsb"/></Relationships>
</file>

<file path=ppt/charts/_rels/chart3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4.xlsb"/></Relationships>
</file>

<file path=ppt/charts/_rels/chart3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5.xlsb"/></Relationships>
</file>

<file path=ppt/charts/_rels/chart3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6.xlsb"/></Relationships>
</file>

<file path=ppt/charts/_rels/chart3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7.xlsb"/></Relationships>
</file>

<file path=ppt/charts/_rels/chart3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8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4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9.xlsb"/></Relationships>
</file>

<file path=ppt/charts/_rels/chart4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0.xlsb"/></Relationships>
</file>

<file path=ppt/charts/_rels/chart4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1.xlsb"/></Relationships>
</file>

<file path=ppt/charts/_rels/chart4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2.xlsb"/></Relationships>
</file>

<file path=ppt/charts/_rels/chart4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3.xlsb"/></Relationships>
</file>

<file path=ppt/charts/_rels/chart4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4.xlsb"/></Relationships>
</file>

<file path=ppt/charts/_rels/chart4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5.xlsb"/></Relationships>
</file>

<file path=ppt/charts/_rels/chart4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6.xlsb"/></Relationships>
</file>

<file path=ppt/charts/_rels/chart4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7.xlsb"/></Relationships>
</file>

<file path=ppt/charts/_rels/chart4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8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5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9.xlsb"/></Relationships>
</file>

<file path=ppt/charts/_rels/chart5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0.xlsb"/></Relationships>
</file>

<file path=ppt/charts/_rels/chart5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1.xlsb"/></Relationships>
</file>

<file path=ppt/charts/_rels/chart5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2.xlsb"/></Relationships>
</file>

<file path=ppt/charts/_rels/chart5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3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5132105684547639"/>
          <c:y val="5.3333333333333337E-2"/>
          <c:w val="0.69735788630904727"/>
          <c:h val="0.89333333333333331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B51B4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EB46-433F-B646-3DBC9D256A84}"/>
              </c:ext>
            </c:extLst>
          </c:dPt>
          <c:dPt>
            <c:idx val="1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EB46-433F-B646-3DBC9D256A84}"/>
              </c:ext>
            </c:extLst>
          </c:dPt>
          <c:dPt>
            <c:idx val="2"/>
            <c:bubble3D val="0"/>
            <c:spPr>
              <a:solidFill>
                <a:srgbClr val="C0C0C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EB46-433F-B646-3DBC9D256A84}"/>
              </c:ext>
            </c:extLst>
          </c:dPt>
          <c:dLbls>
            <c:dLbl>
              <c:idx val="0"/>
              <c:layout>
                <c:manualLayout>
                  <c:x val="4.8038430744595677E-2"/>
                  <c:y val="0.1323076923076923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rgbClr val="FFFFFF"/>
                      </a:solidFill>
                      <a:latin typeface="ITC Avant Garde Pro Bk"/>
                      <a:ea typeface="ITC Avant Garde Pro Bk"/>
                      <a:cs typeface="ITC Avant Garde Pro Bk"/>
                      <a:sym typeface="ITC Avant Garde Pro Bk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B46-433F-B646-3DBC9D256A84}"/>
                </c:ext>
              </c:extLst>
            </c:dLbl>
            <c:dLbl>
              <c:idx val="2"/>
              <c:layout>
                <c:manualLayout>
                  <c:x val="-3.5228182546036831E-2"/>
                  <c:y val="-0.1569230769230769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rgbClr val="000000"/>
                      </a:solidFill>
                      <a:latin typeface="ITC Avant Garde Pro Bk"/>
                      <a:ea typeface="ITC Avant Garde Pro Bk"/>
                      <a:cs typeface="ITC Avant Garde Pro Bk"/>
                      <a:sym typeface="ITC Avant Garde Pro Bk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B46-433F-B646-3DBC9D256A8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General</c:formatCode>
                <c:ptCount val="3"/>
                <c:pt idx="0">
                  <c:v>86.434686211724951</c:v>
                </c:pt>
                <c:pt idx="1">
                  <c:v>4.6762811529791195</c:v>
                </c:pt>
                <c:pt idx="2">
                  <c:v>8.8890326352959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B46-433F-B646-3DBC9D256A8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6982562547384383"/>
          <c:y val="5.3333333333333337E-2"/>
          <c:w val="0.66034874905231233"/>
          <c:h val="0.89333333333333331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B51B4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6D42-49BB-B3FC-AC1BFD530CB9}"/>
              </c:ext>
            </c:extLst>
          </c:dPt>
          <c:dPt>
            <c:idx val="1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6D42-49BB-B3FC-AC1BFD530CB9}"/>
              </c:ext>
            </c:extLst>
          </c:dPt>
          <c:dPt>
            <c:idx val="2"/>
            <c:bubble3D val="0"/>
            <c:spPr>
              <a:solidFill>
                <a:srgbClr val="C0C0C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6D42-49BB-B3FC-AC1BFD530CB9}"/>
              </c:ext>
            </c:extLst>
          </c:dPt>
          <c:dLbls>
            <c:dLbl>
              <c:idx val="0"/>
              <c:layout>
                <c:manualLayout>
                  <c:x val="1.9711902956785442E-2"/>
                  <c:y val="0.14769230769230771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ITC Avant Garde Pro Bk"/>
                      <a:ea typeface="ITC Avant Garde Pro Bk"/>
                      <a:cs typeface="ITC Avant Garde Pro Bk"/>
                      <a:sym typeface="ITC Avant Garde Pro Bk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6D42-49BB-B3FC-AC1BFD530CB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General</c:formatCode>
                <c:ptCount val="3"/>
                <c:pt idx="0">
                  <c:v>94.426622947318222</c:v>
                </c:pt>
                <c:pt idx="1">
                  <c:v>1.7122949849011637</c:v>
                </c:pt>
                <c:pt idx="2">
                  <c:v>3.86108206778060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D42-49BB-B3FC-AC1BFD530C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9559363525091801E-3"/>
          <c:y val="5.5555555555555552E-2"/>
          <c:w val="0.98408812729498163"/>
          <c:h val="0.8888888888888888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B51B4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3549-4353-AC4F-2B7066A7D4B0}"/>
              </c:ext>
            </c:extLst>
          </c:dPt>
          <c:dPt>
            <c:idx val="1"/>
            <c:invertIfNegative val="0"/>
            <c:bubble3D val="0"/>
            <c:spPr>
              <a:solidFill>
                <a:srgbClr val="B51B4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3549-4353-AC4F-2B7066A7D4B0}"/>
              </c:ext>
            </c:extLst>
          </c:dPt>
          <c:dPt>
            <c:idx val="2"/>
            <c:invertIfNegative val="0"/>
            <c:bubble3D val="0"/>
            <c:spPr>
              <a:solidFill>
                <a:srgbClr val="B51B4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3549-4353-AC4F-2B7066A7D4B0}"/>
              </c:ext>
            </c:extLst>
          </c:dPt>
          <c:dPt>
            <c:idx val="3"/>
            <c:invertIfNegative val="0"/>
            <c:bubble3D val="0"/>
            <c:spPr>
              <a:solidFill>
                <a:srgbClr val="B51B4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3549-4353-AC4F-2B7066A7D4B0}"/>
              </c:ext>
            </c:extLst>
          </c:dPt>
          <c:dPt>
            <c:idx val="4"/>
            <c:invertIfNegative val="0"/>
            <c:bubble3D val="0"/>
            <c:spPr>
              <a:solidFill>
                <a:srgbClr val="B51B4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3549-4353-AC4F-2B7066A7D4B0}"/>
              </c:ext>
            </c:extLst>
          </c:dPt>
          <c:dPt>
            <c:idx val="5"/>
            <c:invertIfNegative val="0"/>
            <c:bubble3D val="0"/>
            <c:spPr>
              <a:solidFill>
                <a:srgbClr val="B51B4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3549-4353-AC4F-2B7066A7D4B0}"/>
              </c:ext>
            </c:extLst>
          </c:dPt>
          <c:dPt>
            <c:idx val="6"/>
            <c:invertIfNegative val="0"/>
            <c:bubble3D val="0"/>
            <c:spPr>
              <a:solidFill>
                <a:srgbClr val="B51B4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3549-4353-AC4F-2B7066A7D4B0}"/>
              </c:ext>
            </c:extLst>
          </c:dPt>
          <c:val>
            <c:numRef>
              <c:f>Sheet1!$A$1:$U$1</c:f>
              <c:numCache>
                <c:formatCode>General</c:formatCode>
                <c:ptCount val="21"/>
                <c:pt idx="0">
                  <c:v>110726645</c:v>
                </c:pt>
                <c:pt idx="1">
                  <c:v>95390575</c:v>
                </c:pt>
                <c:pt idx="2">
                  <c:v>87026890</c:v>
                </c:pt>
                <c:pt idx="3">
                  <c:v>79355363</c:v>
                </c:pt>
                <c:pt idx="4">
                  <c:v>67342789</c:v>
                </c:pt>
                <c:pt idx="5">
                  <c:v>57891181</c:v>
                </c:pt>
                <c:pt idx="6">
                  <c:v>53165084</c:v>
                </c:pt>
                <c:pt idx="7">
                  <c:v>52073262</c:v>
                </c:pt>
                <c:pt idx="8">
                  <c:v>30687934</c:v>
                </c:pt>
                <c:pt idx="9">
                  <c:v>30434050</c:v>
                </c:pt>
                <c:pt idx="10">
                  <c:v>27109037</c:v>
                </c:pt>
                <c:pt idx="11">
                  <c:v>23292302</c:v>
                </c:pt>
                <c:pt idx="12">
                  <c:v>18416273</c:v>
                </c:pt>
                <c:pt idx="13">
                  <c:v>16565043</c:v>
                </c:pt>
                <c:pt idx="14">
                  <c:v>13733268</c:v>
                </c:pt>
                <c:pt idx="15">
                  <c:v>13165955</c:v>
                </c:pt>
                <c:pt idx="16">
                  <c:v>12589121</c:v>
                </c:pt>
                <c:pt idx="17">
                  <c:v>9776929</c:v>
                </c:pt>
                <c:pt idx="18">
                  <c:v>8007653</c:v>
                </c:pt>
                <c:pt idx="19">
                  <c:v>4929892</c:v>
                </c:pt>
                <c:pt idx="20">
                  <c:v>4000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3549-4353-AC4F-2B7066A7D4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8464704"/>
        <c:axId val="1"/>
      </c:barChart>
      <c:catAx>
        <c:axId val="1846470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1072664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846470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9559363525091801E-3"/>
          <c:y val="5.5555555555555552E-2"/>
          <c:w val="0.98408812729498163"/>
          <c:h val="0.8888888888888888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B51B4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075B-45E3-8879-A7A89E7CF6B9}"/>
              </c:ext>
            </c:extLst>
          </c:dPt>
          <c:dPt>
            <c:idx val="1"/>
            <c:invertIfNegative val="0"/>
            <c:bubble3D val="0"/>
            <c:spPr>
              <a:solidFill>
                <a:srgbClr val="B51B4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075B-45E3-8879-A7A89E7CF6B9}"/>
              </c:ext>
            </c:extLst>
          </c:dPt>
          <c:dPt>
            <c:idx val="2"/>
            <c:invertIfNegative val="0"/>
            <c:bubble3D val="0"/>
            <c:spPr>
              <a:solidFill>
                <a:srgbClr val="B51B4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075B-45E3-8879-A7A89E7CF6B9}"/>
              </c:ext>
            </c:extLst>
          </c:dPt>
          <c:dPt>
            <c:idx val="3"/>
            <c:invertIfNegative val="0"/>
            <c:bubble3D val="0"/>
            <c:spPr>
              <a:solidFill>
                <a:srgbClr val="B51B4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075B-45E3-8879-A7A89E7CF6B9}"/>
              </c:ext>
            </c:extLst>
          </c:dPt>
          <c:dPt>
            <c:idx val="4"/>
            <c:invertIfNegative val="0"/>
            <c:bubble3D val="0"/>
            <c:spPr>
              <a:solidFill>
                <a:srgbClr val="B51B4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075B-45E3-8879-A7A89E7CF6B9}"/>
              </c:ext>
            </c:extLst>
          </c:dPt>
          <c:dPt>
            <c:idx val="5"/>
            <c:invertIfNegative val="0"/>
            <c:bubble3D val="0"/>
            <c:spPr>
              <a:solidFill>
                <a:srgbClr val="B51B4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075B-45E3-8879-A7A89E7CF6B9}"/>
              </c:ext>
            </c:extLst>
          </c:dPt>
          <c:dPt>
            <c:idx val="6"/>
            <c:invertIfNegative val="0"/>
            <c:bubble3D val="0"/>
            <c:spPr>
              <a:solidFill>
                <a:srgbClr val="B51B4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075B-45E3-8879-A7A89E7CF6B9}"/>
              </c:ext>
            </c:extLst>
          </c:dPt>
          <c:val>
            <c:numRef>
              <c:f>Sheet1!$A$1:$U$1</c:f>
              <c:numCache>
                <c:formatCode>General</c:formatCode>
                <c:ptCount val="21"/>
                <c:pt idx="0">
                  <c:v>10251628209.199141</c:v>
                </c:pt>
                <c:pt idx="1">
                  <c:v>9943706432.4910049</c:v>
                </c:pt>
                <c:pt idx="2">
                  <c:v>9708992937.0850029</c:v>
                </c:pt>
                <c:pt idx="3">
                  <c:v>9476930567.0098324</c:v>
                </c:pt>
                <c:pt idx="4">
                  <c:v>9008110456.2766132</c:v>
                </c:pt>
                <c:pt idx="5">
                  <c:v>6264180745.9399996</c:v>
                </c:pt>
                <c:pt idx="6">
                  <c:v>5043212622.4099989</c:v>
                </c:pt>
                <c:pt idx="7">
                  <c:v>3951365969.4200006</c:v>
                </c:pt>
                <c:pt idx="8">
                  <c:v>3210035580.6170001</c:v>
                </c:pt>
                <c:pt idx="9">
                  <c:v>3177751215</c:v>
                </c:pt>
                <c:pt idx="10">
                  <c:v>2852332744.5499997</c:v>
                </c:pt>
                <c:pt idx="11">
                  <c:v>2769003507.5739994</c:v>
                </c:pt>
                <c:pt idx="12">
                  <c:v>2618589809.7660012</c:v>
                </c:pt>
                <c:pt idx="13">
                  <c:v>2584929618.3868423</c:v>
                </c:pt>
                <c:pt idx="14">
                  <c:v>1799863728.5</c:v>
                </c:pt>
                <c:pt idx="15">
                  <c:v>1795134870</c:v>
                </c:pt>
                <c:pt idx="16">
                  <c:v>1237936397</c:v>
                </c:pt>
                <c:pt idx="17">
                  <c:v>1002769131.6670001</c:v>
                </c:pt>
                <c:pt idx="18">
                  <c:v>995199059.68599999</c:v>
                </c:pt>
                <c:pt idx="19">
                  <c:v>919316915.06999993</c:v>
                </c:pt>
                <c:pt idx="20">
                  <c:v>1032537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075B-45E3-8879-A7A89E7CF6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8475104"/>
        <c:axId val="1"/>
      </c:barChart>
      <c:catAx>
        <c:axId val="1847510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251628209.19914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847510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0123266563944529E-3"/>
          <c:y val="5.5555555555555552E-2"/>
          <c:w val="0.98397534668721109"/>
          <c:h val="0.8888888888888888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B51B4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2104-49E7-B703-A68F827381C2}"/>
              </c:ext>
            </c:extLst>
          </c:dPt>
          <c:dPt>
            <c:idx val="1"/>
            <c:invertIfNegative val="0"/>
            <c:bubble3D val="0"/>
            <c:spPr>
              <a:solidFill>
                <a:srgbClr val="B51B4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2104-49E7-B703-A68F827381C2}"/>
              </c:ext>
            </c:extLst>
          </c:dPt>
          <c:dPt>
            <c:idx val="2"/>
            <c:invertIfNegative val="0"/>
            <c:bubble3D val="0"/>
            <c:spPr>
              <a:solidFill>
                <a:srgbClr val="B51B4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2104-49E7-B703-A68F827381C2}"/>
              </c:ext>
            </c:extLst>
          </c:dPt>
          <c:dPt>
            <c:idx val="3"/>
            <c:invertIfNegative val="0"/>
            <c:bubble3D val="0"/>
            <c:spPr>
              <a:solidFill>
                <a:srgbClr val="B51B4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2104-49E7-B703-A68F827381C2}"/>
              </c:ext>
            </c:extLst>
          </c:dPt>
          <c:dPt>
            <c:idx val="4"/>
            <c:invertIfNegative val="0"/>
            <c:bubble3D val="0"/>
            <c:spPr>
              <a:solidFill>
                <a:srgbClr val="B51B4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2104-49E7-B703-A68F827381C2}"/>
              </c:ext>
            </c:extLst>
          </c:dPt>
          <c:dPt>
            <c:idx val="5"/>
            <c:invertIfNegative val="0"/>
            <c:bubble3D val="0"/>
            <c:spPr>
              <a:solidFill>
                <a:srgbClr val="B51B4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2104-49E7-B703-A68F827381C2}"/>
              </c:ext>
            </c:extLst>
          </c:dPt>
          <c:val>
            <c:numRef>
              <c:f>Sheet1!$A$1:$S$1</c:f>
              <c:numCache>
                <c:formatCode>General</c:formatCode>
                <c:ptCount val="19"/>
                <c:pt idx="0">
                  <c:v>5073422</c:v>
                </c:pt>
                <c:pt idx="1">
                  <c:v>1800772</c:v>
                </c:pt>
                <c:pt idx="2">
                  <c:v>1015918</c:v>
                </c:pt>
                <c:pt idx="3">
                  <c:v>990342</c:v>
                </c:pt>
                <c:pt idx="4">
                  <c:v>727784</c:v>
                </c:pt>
                <c:pt idx="5">
                  <c:v>644094</c:v>
                </c:pt>
                <c:pt idx="6">
                  <c:v>439637</c:v>
                </c:pt>
                <c:pt idx="7">
                  <c:v>430829</c:v>
                </c:pt>
                <c:pt idx="8">
                  <c:v>383850</c:v>
                </c:pt>
                <c:pt idx="9">
                  <c:v>265712</c:v>
                </c:pt>
                <c:pt idx="10">
                  <c:v>186912</c:v>
                </c:pt>
                <c:pt idx="11">
                  <c:v>183086</c:v>
                </c:pt>
                <c:pt idx="12">
                  <c:v>180633</c:v>
                </c:pt>
                <c:pt idx="13">
                  <c:v>135831</c:v>
                </c:pt>
                <c:pt idx="14">
                  <c:v>79379</c:v>
                </c:pt>
                <c:pt idx="15">
                  <c:v>59900</c:v>
                </c:pt>
                <c:pt idx="16">
                  <c:v>57900</c:v>
                </c:pt>
                <c:pt idx="17">
                  <c:v>36174</c:v>
                </c:pt>
                <c:pt idx="18">
                  <c:v>237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104-49E7-B703-A68F827381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58434751"/>
        <c:axId val="1"/>
      </c:barChart>
      <c:catAx>
        <c:axId val="35843475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07342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5843475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0123266563944529E-3"/>
          <c:y val="5.5555555555555552E-2"/>
          <c:w val="0.98397534668721109"/>
          <c:h val="0.8888888888888888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B51B4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788B-4B0D-9D80-D67360671B37}"/>
              </c:ext>
            </c:extLst>
          </c:dPt>
          <c:dPt>
            <c:idx val="1"/>
            <c:invertIfNegative val="0"/>
            <c:bubble3D val="0"/>
            <c:spPr>
              <a:solidFill>
                <a:srgbClr val="B51B4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788B-4B0D-9D80-D67360671B37}"/>
              </c:ext>
            </c:extLst>
          </c:dPt>
          <c:dPt>
            <c:idx val="2"/>
            <c:invertIfNegative val="0"/>
            <c:bubble3D val="0"/>
            <c:spPr>
              <a:solidFill>
                <a:srgbClr val="B51B4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788B-4B0D-9D80-D67360671B37}"/>
              </c:ext>
            </c:extLst>
          </c:dPt>
          <c:dPt>
            <c:idx val="3"/>
            <c:invertIfNegative val="0"/>
            <c:bubble3D val="0"/>
            <c:spPr>
              <a:solidFill>
                <a:srgbClr val="B51B4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788B-4B0D-9D80-D67360671B37}"/>
              </c:ext>
            </c:extLst>
          </c:dPt>
          <c:dPt>
            <c:idx val="4"/>
            <c:invertIfNegative val="0"/>
            <c:bubble3D val="0"/>
            <c:spPr>
              <a:solidFill>
                <a:srgbClr val="B51B4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788B-4B0D-9D80-D67360671B37}"/>
              </c:ext>
            </c:extLst>
          </c:dPt>
          <c:dPt>
            <c:idx val="5"/>
            <c:invertIfNegative val="0"/>
            <c:bubble3D val="0"/>
            <c:spPr>
              <a:solidFill>
                <a:srgbClr val="B51B4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788B-4B0D-9D80-D67360671B37}"/>
              </c:ext>
            </c:extLst>
          </c:dPt>
          <c:val>
            <c:numRef>
              <c:f>Sheet1!$A$1:$S$1</c:f>
              <c:numCache>
                <c:formatCode>General</c:formatCode>
                <c:ptCount val="19"/>
                <c:pt idx="0">
                  <c:v>1262191520.3800001</c:v>
                </c:pt>
                <c:pt idx="1">
                  <c:v>611921036.29999995</c:v>
                </c:pt>
                <c:pt idx="2">
                  <c:v>577502309.03999996</c:v>
                </c:pt>
                <c:pt idx="3">
                  <c:v>369042249</c:v>
                </c:pt>
                <c:pt idx="4">
                  <c:v>307470924.39999998</c:v>
                </c:pt>
                <c:pt idx="5">
                  <c:v>282740988.19999999</c:v>
                </c:pt>
                <c:pt idx="6">
                  <c:v>255697061</c:v>
                </c:pt>
                <c:pt idx="7">
                  <c:v>187638392.80000001</c:v>
                </c:pt>
                <c:pt idx="8">
                  <c:v>139913303.09</c:v>
                </c:pt>
                <c:pt idx="9">
                  <c:v>108775707.25999999</c:v>
                </c:pt>
                <c:pt idx="10">
                  <c:v>106660488</c:v>
                </c:pt>
                <c:pt idx="11">
                  <c:v>72256018.360000014</c:v>
                </c:pt>
                <c:pt idx="12">
                  <c:v>70801136</c:v>
                </c:pt>
                <c:pt idx="13">
                  <c:v>70310181</c:v>
                </c:pt>
                <c:pt idx="14">
                  <c:v>68839473</c:v>
                </c:pt>
                <c:pt idx="15">
                  <c:v>66160458</c:v>
                </c:pt>
                <c:pt idx="16">
                  <c:v>65025732.299999997</c:v>
                </c:pt>
                <c:pt idx="17">
                  <c:v>48235498.490000002</c:v>
                </c:pt>
                <c:pt idx="18">
                  <c:v>334139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88B-4B0D-9D80-D67360671B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8450976"/>
        <c:axId val="1"/>
      </c:barChart>
      <c:catAx>
        <c:axId val="1845097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262191520.380000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845097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9987694200892162E-3"/>
          <c:y val="4.6931407942238268E-2"/>
          <c:w val="0.9840024611598216"/>
          <c:h val="0.9061371841155234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B51B4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CBBE-44B8-B49B-2C5804AEC5AA}"/>
              </c:ext>
            </c:extLst>
          </c:dPt>
          <c:val>
            <c:numRef>
              <c:f>Sheet1!$A$1:$K$1</c:f>
              <c:numCache>
                <c:formatCode>General</c:formatCode>
                <c:ptCount val="11"/>
                <c:pt idx="0">
                  <c:v>26674900</c:v>
                </c:pt>
                <c:pt idx="1">
                  <c:v>1978114</c:v>
                </c:pt>
                <c:pt idx="2">
                  <c:v>1727216</c:v>
                </c:pt>
                <c:pt idx="3">
                  <c:v>968816</c:v>
                </c:pt>
                <c:pt idx="4">
                  <c:v>879279</c:v>
                </c:pt>
                <c:pt idx="5">
                  <c:v>495029</c:v>
                </c:pt>
                <c:pt idx="6">
                  <c:v>365021</c:v>
                </c:pt>
                <c:pt idx="7">
                  <c:v>116505</c:v>
                </c:pt>
                <c:pt idx="8">
                  <c:v>850</c:v>
                </c:pt>
                <c:pt idx="9">
                  <c:v>0</c:v>
                </c:pt>
                <c:pt idx="1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BBE-44B8-B49B-2C5804AEC5A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8550816"/>
        <c:axId val="1"/>
      </c:barChart>
      <c:catAx>
        <c:axId val="1855081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66749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855081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9987694200892162E-3"/>
          <c:y val="4.6931407942238268E-2"/>
          <c:w val="0.9840024611598216"/>
          <c:h val="0.9061371841155234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B51B4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A183-41FD-B222-3BC05814056F}"/>
              </c:ext>
            </c:extLst>
          </c:dPt>
          <c:dPt>
            <c:idx val="1"/>
            <c:invertIfNegative val="0"/>
            <c:bubble3D val="0"/>
            <c:spPr>
              <a:solidFill>
                <a:srgbClr val="B51B4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A183-41FD-B222-3BC05814056F}"/>
              </c:ext>
            </c:extLst>
          </c:dPt>
          <c:dPt>
            <c:idx val="2"/>
            <c:invertIfNegative val="0"/>
            <c:bubble3D val="0"/>
            <c:spPr>
              <a:solidFill>
                <a:srgbClr val="B51B4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A183-41FD-B222-3BC05814056F}"/>
              </c:ext>
            </c:extLst>
          </c:dPt>
          <c:val>
            <c:numRef>
              <c:f>Sheet1!$A$1:$K$1</c:f>
              <c:numCache>
                <c:formatCode>General</c:formatCode>
                <c:ptCount val="11"/>
                <c:pt idx="0">
                  <c:v>4199110694.6122103</c:v>
                </c:pt>
                <c:pt idx="1">
                  <c:v>1567702919.7480004</c:v>
                </c:pt>
                <c:pt idx="2">
                  <c:v>1065188652.158</c:v>
                </c:pt>
                <c:pt idx="3">
                  <c:v>946413071.00999928</c:v>
                </c:pt>
                <c:pt idx="4">
                  <c:v>893909014.50100017</c:v>
                </c:pt>
                <c:pt idx="5">
                  <c:v>270414281.37800002</c:v>
                </c:pt>
                <c:pt idx="6">
                  <c:v>96802369.903999984</c:v>
                </c:pt>
                <c:pt idx="7">
                  <c:v>46720557.400000006</c:v>
                </c:pt>
                <c:pt idx="8">
                  <c:v>20272846.385000002</c:v>
                </c:pt>
                <c:pt idx="9">
                  <c:v>13323102.359199999</c:v>
                </c:pt>
                <c:pt idx="10">
                  <c:v>36072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183-41FD-B222-3BC0581405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8538752"/>
        <c:axId val="1"/>
      </c:barChart>
      <c:catAx>
        <c:axId val="1853875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199110694.612210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853875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561576354679803E-2"/>
          <c:y val="2.5755324418028726E-2"/>
          <c:w val="0.94039408866995078"/>
          <c:h val="0.94551758296186228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B51B4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7A08-4E99-9678-AF94954693FE}"/>
              </c:ext>
            </c:extLst>
          </c:dPt>
          <c:dPt>
            <c:idx val="1"/>
            <c:bubble3D val="0"/>
            <c:spPr>
              <a:solidFill>
                <a:srgbClr val="364D6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7A08-4E99-9678-AF94954693FE}"/>
              </c:ext>
            </c:extLst>
          </c:dPt>
          <c:dPt>
            <c:idx val="2"/>
            <c:bubble3D val="0"/>
            <c:spPr>
              <a:solidFill>
                <a:srgbClr val="4C6C9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7A08-4E99-9678-AF94954693FE}"/>
              </c:ext>
            </c:extLst>
          </c:dPt>
          <c:dPt>
            <c:idx val="3"/>
            <c:bubble3D val="0"/>
            <c:spPr>
              <a:solidFill>
                <a:srgbClr val="6F8DB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7A08-4E99-9678-AF94954693FE}"/>
              </c:ext>
            </c:extLst>
          </c:dPt>
          <c:dPt>
            <c:idx val="4"/>
            <c:bubble3D val="0"/>
            <c:spPr>
              <a:solidFill>
                <a:srgbClr val="9DB1C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7A08-4E99-9678-AF94954693FE}"/>
              </c:ext>
            </c:extLst>
          </c:dPt>
          <c:dPt>
            <c:idx val="5"/>
            <c:bubble3D val="0"/>
            <c:spPr>
              <a:solidFill>
                <a:srgbClr val="C3CFE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7A08-4E99-9678-AF94954693FE}"/>
              </c:ext>
            </c:extLst>
          </c:dPt>
          <c:dPt>
            <c:idx val="6"/>
            <c:bubble3D val="0"/>
            <c:spPr>
              <a:solidFill>
                <a:srgbClr val="DFE5E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7A08-4E99-9678-AF94954693FE}"/>
              </c:ext>
            </c:extLst>
          </c:dPt>
          <c:dPt>
            <c:idx val="7"/>
            <c:bubble3D val="0"/>
            <c:spPr>
              <a:solidFill>
                <a:srgbClr val="80808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7A08-4E99-9678-AF94954693FE}"/>
              </c:ext>
            </c:extLst>
          </c:dPt>
          <c:dPt>
            <c:idx val="8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8-7A08-4E99-9678-AF94954693FE}"/>
              </c:ext>
            </c:extLst>
          </c:dPt>
          <c:dPt>
            <c:idx val="9"/>
            <c:bubble3D val="0"/>
            <c:spPr>
              <a:solidFill>
                <a:srgbClr val="C0C0C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7A08-4E99-9678-AF94954693FE}"/>
              </c:ext>
            </c:extLst>
          </c:dPt>
          <c:dPt>
            <c:idx val="10"/>
            <c:bubble3D val="0"/>
            <c:spPr>
              <a:solidFill>
                <a:schemeClr val="folHlink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A-7A08-4E99-9678-AF94954693FE}"/>
              </c:ext>
            </c:extLst>
          </c:dPt>
          <c:dLbls>
            <c:dLbl>
              <c:idx val="0"/>
              <c:layout>
                <c:manualLayout>
                  <c:x val="6.0098522167487685E-2"/>
                  <c:y val="-0.18623080733036157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Verdan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7A08-4E99-9678-AF94954693FE}"/>
                </c:ext>
              </c:extLst>
            </c:dLbl>
            <c:dLbl>
              <c:idx val="1"/>
              <c:layout>
                <c:manualLayout>
                  <c:x val="0.14729064039408868"/>
                  <c:y val="-0.110946012877662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Verdan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A08-4E99-9678-AF94954693FE}"/>
                </c:ext>
              </c:extLst>
            </c:dLbl>
            <c:dLbl>
              <c:idx val="2"/>
              <c:layout>
                <c:manualLayout>
                  <c:x val="0.20049261083743841"/>
                  <c:y val="-8.915304606240712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Verdan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7A08-4E99-9678-AF94954693FE}"/>
                </c:ext>
              </c:extLst>
            </c:dLbl>
            <c:dLbl>
              <c:idx val="3"/>
              <c:layout>
                <c:manualLayout>
                  <c:x val="0.16453201970443349"/>
                  <c:y val="0.10054482417038138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Verdan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7A08-4E99-9678-AF94954693FE}"/>
                </c:ext>
              </c:extLst>
            </c:dLbl>
            <c:dLbl>
              <c:idx val="4"/>
              <c:layout>
                <c:manualLayout>
                  <c:x val="8.5221674876847286E-2"/>
                  <c:y val="0.17533432392273401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Verdan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7A08-4E99-9678-AF94954693FE}"/>
                </c:ext>
              </c:extLst>
            </c:dLbl>
            <c:dLbl>
              <c:idx val="5"/>
              <c:layout>
                <c:manualLayout>
                  <c:x val="-3.4482758620689655E-3"/>
                  <c:y val="0.20406141654284299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Verdan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7A08-4E99-9678-AF94954693FE}"/>
                </c:ext>
              </c:extLst>
            </c:dLbl>
            <c:dLbl>
              <c:idx val="6"/>
              <c:layout>
                <c:manualLayout>
                  <c:x val="-6.7980295566502466E-2"/>
                  <c:y val="0.17929668152550768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rgbClr val="000000"/>
                      </a:solidFill>
                      <a:latin typeface="Verdana"/>
                      <a:ea typeface="Verdan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7A08-4E99-9678-AF94954693FE}"/>
                </c:ext>
              </c:extLst>
            </c:dLbl>
            <c:dLbl>
              <c:idx val="7"/>
              <c:layout>
                <c:manualLayout>
                  <c:x val="-0.11182266009852217"/>
                  <c:y val="0.14858841010401189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rgbClr val="FFFFFF"/>
                      </a:solidFill>
                      <a:latin typeface="Verdana"/>
                      <a:ea typeface="Verdan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7A08-4E99-9678-AF94954693FE}"/>
                </c:ext>
              </c:extLst>
            </c:dLbl>
            <c:dLbl>
              <c:idx val="8"/>
              <c:layout>
                <c:manualLayout>
                  <c:x val="-0.14334975369458128"/>
                  <c:y val="0.1139177810797424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rgbClr val="FFFFFF"/>
                      </a:solidFill>
                      <a:latin typeface="Verdana"/>
                      <a:ea typeface="Verdan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7A08-4E99-9678-AF94954693FE}"/>
                </c:ext>
              </c:extLst>
            </c:dLbl>
            <c:dLbl>
              <c:idx val="9"/>
              <c:layout>
                <c:manualLayout>
                  <c:x val="-0.16009852216748768"/>
                  <c:y val="-9.1134224863793953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Verdan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7A08-4E99-9678-AF94954693F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11</c:f>
              <c:numCache>
                <c:formatCode>General</c:formatCode>
                <c:ptCount val="11"/>
                <c:pt idx="0">
                  <c:v>9.9974621899092675</c:v>
                </c:pt>
                <c:pt idx="1">
                  <c:v>9.6971746397494911</c:v>
                </c:pt>
                <c:pt idx="2">
                  <c:v>9.4682803365326311</c:v>
                </c:pt>
                <c:pt idx="3">
                  <c:v>9.2419714299683644</c:v>
                </c:pt>
                <c:pt idx="4">
                  <c:v>8.7847746573894856</c:v>
                </c:pt>
                <c:pt idx="5">
                  <c:v>6.1088745007448066</c:v>
                </c:pt>
                <c:pt idx="6">
                  <c:v>4.9181775303726019</c:v>
                </c:pt>
                <c:pt idx="7">
                  <c:v>4.0950032076815566</c:v>
                </c:pt>
                <c:pt idx="8">
                  <c:v>3.8534007546550173</c:v>
                </c:pt>
                <c:pt idx="9">
                  <c:v>33.834880752996746</c:v>
                </c:pt>
                <c:pt idx="1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7A08-4E99-9678-AF94954693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4465780403742E-2"/>
          <c:y val="2.5780862667327716E-2"/>
          <c:w val="0.9399310684391925"/>
          <c:h val="0.94645513138324244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364D6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B871-43E5-B105-6A8B58D17AC0}"/>
              </c:ext>
            </c:extLst>
          </c:dPt>
          <c:dPt>
            <c:idx val="1"/>
            <c:bubble3D val="0"/>
            <c:spPr>
              <a:solidFill>
                <a:srgbClr val="4C6C9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B871-43E5-B105-6A8B58D17AC0}"/>
              </c:ext>
            </c:extLst>
          </c:dPt>
          <c:dPt>
            <c:idx val="2"/>
            <c:bubble3D val="0"/>
            <c:spPr>
              <a:solidFill>
                <a:srgbClr val="9DB1C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B871-43E5-B105-6A8B58D17AC0}"/>
              </c:ext>
            </c:extLst>
          </c:dPt>
          <c:dPt>
            <c:idx val="3"/>
            <c:bubble3D val="0"/>
            <c:spPr>
              <a:solidFill>
                <a:srgbClr val="6F8DB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B871-43E5-B105-6A8B58D17AC0}"/>
              </c:ext>
            </c:extLst>
          </c:dPt>
          <c:dPt>
            <c:idx val="4"/>
            <c:bubble3D val="0"/>
            <c:spPr>
              <a:solidFill>
                <a:srgbClr val="C3CFE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B871-43E5-B105-6A8B58D17AC0}"/>
              </c:ext>
            </c:extLst>
          </c:dPt>
          <c:dPt>
            <c:idx val="5"/>
            <c:bubble3D val="0"/>
            <c:spPr>
              <a:solidFill>
                <a:srgbClr val="DFE5E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B871-43E5-B105-6A8B58D17AC0}"/>
              </c:ext>
            </c:extLst>
          </c:dPt>
          <c:dPt>
            <c:idx val="6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B871-43E5-B105-6A8B58D17AC0}"/>
              </c:ext>
            </c:extLst>
          </c:dPt>
          <c:dPt>
            <c:idx val="7"/>
            <c:bubble3D val="0"/>
            <c:spPr>
              <a:solidFill>
                <a:srgbClr val="B51B4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B871-43E5-B105-6A8B58D17AC0}"/>
              </c:ext>
            </c:extLst>
          </c:dPt>
          <c:dPt>
            <c:idx val="8"/>
            <c:bubble3D val="0"/>
            <c:spPr>
              <a:solidFill>
                <a:schemeClr val="folHlink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8-B871-43E5-B105-6A8B58D17AC0}"/>
              </c:ext>
            </c:extLst>
          </c:dPt>
          <c:dPt>
            <c:idx val="9"/>
            <c:bubble3D val="0"/>
            <c:spPr>
              <a:solidFill>
                <a:srgbClr val="C0C0C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B871-43E5-B105-6A8B58D17AC0}"/>
              </c:ext>
            </c:extLst>
          </c:dPt>
          <c:dLbls>
            <c:dLbl>
              <c:idx val="0"/>
              <c:layout>
                <c:manualLayout>
                  <c:x val="8.0748399803052678E-2"/>
                  <c:y val="-0.1745166088249876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Verdan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871-43E5-B105-6A8B58D17AC0}"/>
                </c:ext>
              </c:extLst>
            </c:dLbl>
            <c:dLbl>
              <c:idx val="1"/>
              <c:layout>
                <c:manualLayout>
                  <c:x val="0.17429837518463812"/>
                  <c:y val="-5.999008428358949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Verdan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871-43E5-B105-6A8B58D17AC0}"/>
                </c:ext>
              </c:extLst>
            </c:dLbl>
            <c:dLbl>
              <c:idx val="2"/>
              <c:layout>
                <c:manualLayout>
                  <c:x val="0.1688823239783358"/>
                  <c:y val="6.9905800694100143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Verdan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871-43E5-B105-6A8B58D17AC0}"/>
                </c:ext>
              </c:extLst>
            </c:dLbl>
            <c:dLbl>
              <c:idx val="3"/>
              <c:layout>
                <c:manualLayout>
                  <c:x val="9.108813392417528E-2"/>
                  <c:y val="0.16460089241447695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Verdan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B871-43E5-B105-6A8B58D17AC0}"/>
                </c:ext>
              </c:extLst>
            </c:dLbl>
            <c:dLbl>
              <c:idx val="4"/>
              <c:layout>
                <c:manualLayout>
                  <c:x val="-8.8626292466765146E-3"/>
                  <c:y val="0.20327218641546851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Verdan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B871-43E5-B105-6A8B58D17AC0}"/>
                </c:ext>
              </c:extLst>
            </c:dLbl>
            <c:dLbl>
              <c:idx val="5"/>
              <c:layout>
                <c:manualLayout>
                  <c:x val="-9.0103397341211228E-2"/>
                  <c:y val="0.17253346554288548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Verdan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B871-43E5-B105-6A8B58D17AC0}"/>
                </c:ext>
              </c:extLst>
            </c:dLbl>
            <c:dLbl>
              <c:idx val="6"/>
              <c:layout>
                <c:manualLayout>
                  <c:x val="-0.14869522402757263"/>
                  <c:y val="0.1224590976698066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Verdan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B871-43E5-B105-6A8B58D17AC0}"/>
                </c:ext>
              </c:extLst>
            </c:dLbl>
            <c:dLbl>
              <c:idx val="7"/>
              <c:layout>
                <c:manualLayout>
                  <c:x val="-0.18562284588872477"/>
                  <c:y val="6.0981655924640554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Verdan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B871-43E5-B105-6A8B58D17AC0}"/>
                </c:ext>
              </c:extLst>
            </c:dLbl>
            <c:dLbl>
              <c:idx val="8"/>
              <c:layout>
                <c:manualLayout>
                  <c:x val="-0.20039389463318563"/>
                  <c:y val="4.9578582052553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Verdan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B871-43E5-B105-6A8B58D17AC0}"/>
                </c:ext>
              </c:extLst>
            </c:dLbl>
            <c:dLbl>
              <c:idx val="9"/>
              <c:layout>
                <c:manualLayout>
                  <c:x val="-0.12506154603643527"/>
                  <c:y val="-0.13832424392662371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Verdan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B871-43E5-B105-6A8B58D17AC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10</c:f>
              <c:numCache>
                <c:formatCode>General</c:formatCode>
                <c:ptCount val="10"/>
                <c:pt idx="0">
                  <c:v>13.942262093818972</c:v>
                </c:pt>
                <c:pt idx="1">
                  <c:v>11.645756619617426</c:v>
                </c:pt>
                <c:pt idx="2">
                  <c:v>11.271408131046075</c:v>
                </c:pt>
                <c:pt idx="3">
                  <c:v>9.8781921901094076</c:v>
                </c:pt>
                <c:pt idx="4">
                  <c:v>7.4354319300686793</c:v>
                </c:pt>
                <c:pt idx="5">
                  <c:v>6.4538006657295863</c:v>
                </c:pt>
                <c:pt idx="6">
                  <c:v>6.1777894363985402</c:v>
                </c:pt>
                <c:pt idx="7">
                  <c:v>5.5729259199677559</c:v>
                </c:pt>
                <c:pt idx="8">
                  <c:v>3.5357084701005639</c:v>
                </c:pt>
                <c:pt idx="9">
                  <c:v>23.6501349014243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871-43E5-B105-6A8B58D17AC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144449207029576E-2"/>
          <c:y val="5.2791878172588833E-2"/>
          <c:w val="0.97771110158594088"/>
          <c:h val="0.8944162436548223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0C0C0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B51B4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6A51-400E-BF38-2BF6942EAF89}"/>
              </c:ext>
            </c:extLst>
          </c:dPt>
          <c:val>
            <c:numRef>
              <c:f>Sheet1!$A$1:$G$1</c:f>
              <c:numCache>
                <c:formatCode>General</c:formatCode>
                <c:ptCount val="7"/>
                <c:pt idx="0">
                  <c:v>6864537.8125</c:v>
                </c:pt>
                <c:pt idx="1">
                  <c:v>7246652.2941176472</c:v>
                </c:pt>
                <c:pt idx="2">
                  <c:v>7980429.4117647056</c:v>
                </c:pt>
                <c:pt idx="3">
                  <c:v>6700172.055555556</c:v>
                </c:pt>
                <c:pt idx="4">
                  <c:v>7255056.722222222</c:v>
                </c:pt>
                <c:pt idx="5">
                  <c:v>7501877.5</c:v>
                </c:pt>
                <c:pt idx="6">
                  <c:v>7333736.4444444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A51-400E-BF38-2BF6942EAF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0"/>
        <c:overlap val="100"/>
        <c:axId val="1334019392"/>
        <c:axId val="1"/>
      </c:barChart>
      <c:catAx>
        <c:axId val="133401939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980429.411764705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33401939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6982562547384383"/>
          <c:y val="5.3333333333333337E-2"/>
          <c:w val="0.66034874905231233"/>
          <c:h val="0.89333333333333331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B51B4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75DB-47D5-B24E-ABFF76E058BA}"/>
              </c:ext>
            </c:extLst>
          </c:dPt>
          <c:dPt>
            <c:idx val="1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75DB-47D5-B24E-ABFF76E058BA}"/>
              </c:ext>
            </c:extLst>
          </c:dPt>
          <c:dPt>
            <c:idx val="2"/>
            <c:bubble3D val="0"/>
            <c:spPr>
              <a:solidFill>
                <a:srgbClr val="C0C0C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75DB-47D5-B24E-ABFF76E058BA}"/>
              </c:ext>
            </c:extLst>
          </c:dPt>
          <c:dLbls>
            <c:dLbl>
              <c:idx val="0"/>
              <c:layout>
                <c:manualLayout>
                  <c:x val="1.9711902956785442E-2"/>
                  <c:y val="0.14769230769230771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ITC Avant Garde Pro Bk"/>
                      <a:ea typeface="ITC Avant Garde Pro Bk"/>
                      <a:cs typeface="ITC Avant Garde Pro Bk"/>
                      <a:sym typeface="ITC Avant Garde Pro Bk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75DB-47D5-B24E-ABFF76E058B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General</c:formatCode>
                <c:ptCount val="3"/>
                <c:pt idx="0">
                  <c:v>94.426622947318222</c:v>
                </c:pt>
                <c:pt idx="1">
                  <c:v>1.7122949849011637</c:v>
                </c:pt>
                <c:pt idx="2">
                  <c:v>3.86108206778060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5DB-47D5-B24E-ABFF76E058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144449207029576E-2"/>
          <c:y val="5.2791878172588833E-2"/>
          <c:w val="0.97771110158594088"/>
          <c:h val="0.8944162436548223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0C0C0"/>
            </a:solidFill>
            <a:ln>
              <a:noFill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B51B4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F3C5-462F-8112-C85C7F4389AC}"/>
              </c:ext>
            </c:extLst>
          </c:dPt>
          <c:val>
            <c:numRef>
              <c:f>Sheet1!$A$1:$G$1</c:f>
              <c:numCache>
                <c:formatCode>General</c:formatCode>
                <c:ptCount val="7"/>
                <c:pt idx="0">
                  <c:v>756740237.87573576</c:v>
                </c:pt>
                <c:pt idx="1">
                  <c:v>827347322.57896137</c:v>
                </c:pt>
                <c:pt idx="2">
                  <c:v>849322124.39142835</c:v>
                </c:pt>
                <c:pt idx="3">
                  <c:v>858082551.74237609</c:v>
                </c:pt>
                <c:pt idx="4">
                  <c:v>836557602.34311068</c:v>
                </c:pt>
                <c:pt idx="5">
                  <c:v>988050320.16144013</c:v>
                </c:pt>
                <c:pt idx="6">
                  <c:v>899868273.865390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3C5-462F-8112-C85C7F4389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0"/>
        <c:overlap val="100"/>
        <c:axId val="1335792624"/>
        <c:axId val="1"/>
      </c:barChart>
      <c:catAx>
        <c:axId val="133579262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88050320.1614401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33579262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144449207029576E-2"/>
          <c:y val="5.2791878172588833E-2"/>
          <c:w val="0.97771110158594088"/>
          <c:h val="0.8944162436548223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0C0C0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B51B4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6A51-400E-BF38-2BF6942EAF89}"/>
              </c:ext>
            </c:extLst>
          </c:dPt>
          <c:val>
            <c:numRef>
              <c:f>Sheet1!$A$1:$G$1</c:f>
              <c:numCache>
                <c:formatCode>General</c:formatCode>
                <c:ptCount val="7"/>
                <c:pt idx="0">
                  <c:v>6864537.8125</c:v>
                </c:pt>
                <c:pt idx="1">
                  <c:v>7246652.2941176472</c:v>
                </c:pt>
                <c:pt idx="2">
                  <c:v>7980429.4117647056</c:v>
                </c:pt>
                <c:pt idx="3">
                  <c:v>6700172.055555556</c:v>
                </c:pt>
                <c:pt idx="4">
                  <c:v>7255056.722222222</c:v>
                </c:pt>
                <c:pt idx="5">
                  <c:v>7501877.5</c:v>
                </c:pt>
                <c:pt idx="6">
                  <c:v>7333736.4444444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A51-400E-BF38-2BF6942EAF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0"/>
        <c:overlap val="100"/>
        <c:axId val="1334019392"/>
        <c:axId val="1"/>
      </c:barChart>
      <c:catAx>
        <c:axId val="133401939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980429.411764705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33401939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144449207029576E-2"/>
          <c:y val="5.2791878172588833E-2"/>
          <c:w val="0.97771110158594088"/>
          <c:h val="0.8944162436548223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0C0C0"/>
            </a:solidFill>
            <a:ln>
              <a:noFill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B51B4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F3C5-462F-8112-C85C7F4389AC}"/>
              </c:ext>
            </c:extLst>
          </c:dPt>
          <c:val>
            <c:numRef>
              <c:f>Sheet1!$A$1:$G$1</c:f>
              <c:numCache>
                <c:formatCode>General</c:formatCode>
                <c:ptCount val="7"/>
                <c:pt idx="0">
                  <c:v>756740237.87573576</c:v>
                </c:pt>
                <c:pt idx="1">
                  <c:v>827347322.57896137</c:v>
                </c:pt>
                <c:pt idx="2">
                  <c:v>849322124.39142835</c:v>
                </c:pt>
                <c:pt idx="3">
                  <c:v>858082551.74237609</c:v>
                </c:pt>
                <c:pt idx="4">
                  <c:v>836557602.34311068</c:v>
                </c:pt>
                <c:pt idx="5">
                  <c:v>988050320.16144013</c:v>
                </c:pt>
                <c:pt idx="6">
                  <c:v>899868273.865390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3C5-462F-8112-C85C7F4389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0"/>
        <c:overlap val="100"/>
        <c:axId val="1335792624"/>
        <c:axId val="1"/>
      </c:barChart>
      <c:catAx>
        <c:axId val="133579262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88050320.1614401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33579262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5727848101265819E-2"/>
          <c:y val="4.6181172291296625E-2"/>
          <c:w val="0.80854430379746833"/>
          <c:h val="0.90763765541740671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B51B4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6969-43D4-848E-60B0D0F00732}"/>
              </c:ext>
            </c:extLst>
          </c:dPt>
          <c:dPt>
            <c:idx val="1"/>
            <c:bubble3D val="0"/>
            <c:spPr>
              <a:solidFill>
                <a:srgbClr val="80808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6969-43D4-848E-60B0D0F00732}"/>
              </c:ext>
            </c:extLst>
          </c:dPt>
          <c:dPt>
            <c:idx val="2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6969-43D4-848E-60B0D0F00732}"/>
              </c:ext>
            </c:extLst>
          </c:dPt>
          <c:dPt>
            <c:idx val="3"/>
            <c:bubble3D val="0"/>
            <c:spPr>
              <a:solidFill>
                <a:srgbClr val="C0C0C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6969-43D4-848E-60B0D0F00732}"/>
              </c:ext>
            </c:extLst>
          </c:dPt>
          <c:dLbls>
            <c:dLbl>
              <c:idx val="0"/>
              <c:layout>
                <c:manualLayout>
                  <c:x val="9.8101265822784806E-2"/>
                  <c:y val="9.5026642984014212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6969-43D4-848E-60B0D0F00732}"/>
                </c:ext>
              </c:extLst>
            </c:dLbl>
            <c:dLbl>
              <c:idx val="1"/>
              <c:layout>
                <c:manualLayout>
                  <c:x val="-0.11313291139240507"/>
                  <c:y val="-7.6376554174067496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969-43D4-848E-60B0D0F00732}"/>
                </c:ext>
              </c:extLst>
            </c:dLbl>
            <c:dLbl>
              <c:idx val="2"/>
              <c:layout>
                <c:manualLayout>
                  <c:x val="-3.2436708860759493E-2"/>
                  <c:y val="-0.17051509769094139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6969-43D4-848E-60B0D0F0073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4</c:f>
              <c:numCache>
                <c:formatCode>General</c:formatCode>
                <c:ptCount val="4"/>
                <c:pt idx="0">
                  <c:v>73.208632456065104</c:v>
                </c:pt>
                <c:pt idx="1">
                  <c:v>20.371703993348106</c:v>
                </c:pt>
                <c:pt idx="2">
                  <c:v>6.0277651821503833</c:v>
                </c:pt>
                <c:pt idx="3">
                  <c:v>0.391898368436407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969-43D4-848E-60B0D0F007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5727848101265819E-2"/>
          <c:y val="4.6140195208518191E-2"/>
          <c:w val="0.80933544303797467"/>
          <c:h val="0.9077196095829636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B51B4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A153-4E93-BBBF-0E69A04D0D25}"/>
              </c:ext>
            </c:extLst>
          </c:dPt>
          <c:dPt>
            <c:idx val="1"/>
            <c:bubble3D val="0"/>
            <c:spPr>
              <a:solidFill>
                <a:srgbClr val="80808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A153-4E93-BBBF-0E69A04D0D25}"/>
              </c:ext>
            </c:extLst>
          </c:dPt>
          <c:dPt>
            <c:idx val="2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A153-4E93-BBBF-0E69A04D0D25}"/>
              </c:ext>
            </c:extLst>
          </c:dPt>
          <c:dPt>
            <c:idx val="3"/>
            <c:bubble3D val="0"/>
            <c:spPr>
              <a:solidFill>
                <a:srgbClr val="C0C0C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A153-4E93-BBBF-0E69A04D0D25}"/>
              </c:ext>
            </c:extLst>
          </c:dPt>
          <c:dPt>
            <c:idx val="4"/>
            <c:bubble3D val="0"/>
            <c:spPr>
              <a:solidFill>
                <a:srgbClr val="6F8DB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A153-4E93-BBBF-0E69A04D0D25}"/>
              </c:ext>
            </c:extLst>
          </c:dPt>
          <c:dLbls>
            <c:dLbl>
              <c:idx val="0"/>
              <c:layout>
                <c:manualLayout>
                  <c:x val="0.12579113924050633"/>
                  <c:y val="4.4365572315882874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153-4E93-BBBF-0E69A04D0D25}"/>
                </c:ext>
              </c:extLst>
            </c:dLbl>
            <c:dLbl>
              <c:idx val="1"/>
              <c:layout>
                <c:manualLayout>
                  <c:x val="-0.12895569620253164"/>
                  <c:y val="3.992901508429459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153-4E93-BBBF-0E69A04D0D25}"/>
                </c:ext>
              </c:extLst>
            </c:dLbl>
            <c:dLbl>
              <c:idx val="2"/>
              <c:layout>
                <c:manualLayout>
                  <c:x val="-0.12025316455696203"/>
                  <c:y val="-9.4055013309671698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A153-4E93-BBBF-0E69A04D0D25}"/>
                </c:ext>
              </c:extLst>
            </c:dLbl>
            <c:dLbl>
              <c:idx val="4"/>
              <c:layout>
                <c:manualLayout>
                  <c:x val="-4.6677215189873417E-2"/>
                  <c:y val="-0.1561668145519077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A153-4E93-BBBF-0E69A04D0D2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5</c:f>
              <c:numCache>
                <c:formatCode>General</c:formatCode>
                <c:ptCount val="5"/>
                <c:pt idx="0">
                  <c:v>60.134244819243243</c:v>
                </c:pt>
                <c:pt idx="1">
                  <c:v>20.54202879930455</c:v>
                </c:pt>
                <c:pt idx="2">
                  <c:v>7.5615125693556831</c:v>
                </c:pt>
                <c:pt idx="3">
                  <c:v>1.329863738582987</c:v>
                </c:pt>
                <c:pt idx="4">
                  <c:v>10.4323500735135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153-4E93-BBBF-0E69A04D0D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6112412177985946E-3"/>
          <c:y val="3.6542515811665496E-2"/>
          <c:w val="0.98477751756440279"/>
          <c:h val="0.9269149683766689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B51B4F"/>
            </a:solidFill>
            <a:ln>
              <a:noFill/>
            </a:ln>
          </c:spPr>
          <c:invertIfNegative val="0"/>
          <c:val>
            <c:numRef>
              <c:f>Sheet1!$A$1:$F$1</c:f>
              <c:numCache>
                <c:formatCode>General</c:formatCode>
                <c:ptCount val="6"/>
                <c:pt idx="0">
                  <c:v>22148</c:v>
                </c:pt>
                <c:pt idx="1">
                  <c:v>35830</c:v>
                </c:pt>
                <c:pt idx="2">
                  <c:v>29425</c:v>
                </c:pt>
                <c:pt idx="3">
                  <c:v>22684</c:v>
                </c:pt>
                <c:pt idx="4">
                  <c:v>10342</c:v>
                </c:pt>
                <c:pt idx="5">
                  <c:v>88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41A-46AD-8258-16C97B45DDDB}"/>
            </c:ext>
          </c:extLst>
        </c:ser>
        <c:ser>
          <c:idx val="1"/>
          <c:order val="1"/>
          <c:spPr>
            <a:solidFill>
              <a:srgbClr val="969696"/>
            </a:solidFill>
            <a:ln>
              <a:noFill/>
            </a:ln>
          </c:spPr>
          <c:invertIfNegative val="0"/>
          <c:val>
            <c:numRef>
              <c:f>Sheet1!$A$2:$F$2</c:f>
              <c:numCache>
                <c:formatCode>General</c:formatCode>
                <c:ptCount val="6"/>
                <c:pt idx="0">
                  <c:v>12669</c:v>
                </c:pt>
                <c:pt idx="1">
                  <c:v>6249</c:v>
                </c:pt>
                <c:pt idx="2">
                  <c:v>4006</c:v>
                </c:pt>
                <c:pt idx="3">
                  <c:v>6791</c:v>
                </c:pt>
                <c:pt idx="4">
                  <c:v>1126</c:v>
                </c:pt>
                <c:pt idx="5">
                  <c:v>5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41A-46AD-8258-16C97B45DD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0"/>
        <c:overlap val="100"/>
        <c:axId val="1389548159"/>
        <c:axId val="1"/>
      </c:barChart>
      <c:catAx>
        <c:axId val="138954815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207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38954815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4596273291925466E-2"/>
          <c:y val="6.4596273291925466E-2"/>
          <c:w val="0.87080745341614907"/>
          <c:h val="0.87080745341614907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374F-497D-B62E-17220CEE543D}"/>
              </c:ext>
            </c:extLst>
          </c:dPt>
          <c:dPt>
            <c:idx val="1"/>
            <c:bubble3D val="0"/>
            <c:spPr>
              <a:solidFill>
                <a:srgbClr val="B51B4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374F-497D-B62E-17220CEE543D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47.5</c:v>
                </c:pt>
                <c:pt idx="1">
                  <c:v>5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74F-497D-B62E-17220CEE54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4596273291925466E-2"/>
          <c:y val="6.4596273291925466E-2"/>
          <c:w val="0.87080745341614907"/>
          <c:h val="0.87080745341614907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B51B4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87BF-4737-9B01-4C5524024800}"/>
              </c:ext>
            </c:extLst>
          </c:dPt>
          <c:dPt>
            <c:idx val="1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87BF-4737-9B01-4C5524024800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28.571428571428569</c:v>
                </c:pt>
                <c:pt idx="1">
                  <c:v>71.4285714285714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7BF-4737-9B01-4C552402480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4596273291925466E-2"/>
          <c:y val="6.4596273291925466E-2"/>
          <c:w val="0.87080745341614907"/>
          <c:h val="0.87080745341614907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B51B4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A86D-4F72-B425-ACA07D3788EA}"/>
              </c:ext>
            </c:extLst>
          </c:dPt>
          <c:dPt>
            <c:idx val="1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A86D-4F72-B425-ACA07D3788EA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25</c:v>
                </c:pt>
                <c:pt idx="1">
                  <c:v>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86D-4F72-B425-ACA07D3788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4596273291925466E-2"/>
          <c:y val="6.4596273291925466E-2"/>
          <c:w val="0.87080745341614907"/>
          <c:h val="0.87080745341614907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B51B4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054E-450E-8B3D-3AA52F8584C7}"/>
              </c:ext>
            </c:extLst>
          </c:dPt>
          <c:dPt>
            <c:idx val="1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054E-450E-8B3D-3AA52F8584C7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44.444444444444443</c:v>
                </c:pt>
                <c:pt idx="1">
                  <c:v>55.5555555555555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54E-450E-8B3D-3AA52F8584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361890694239291E-2"/>
          <c:y val="0.11134903640256959"/>
          <c:w val="0.96927621861152147"/>
          <c:h val="0.777301927194860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B51B4F"/>
            </a:solidFill>
            <a:ln>
              <a:noFill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20019882873.601593</c:v>
                </c:pt>
                <c:pt idx="1">
                  <c:v>20403432446.036472</c:v>
                </c:pt>
                <c:pt idx="2">
                  <c:v>29914579693.29546</c:v>
                </c:pt>
                <c:pt idx="3">
                  <c:v>21342968237.0340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AB9-4B5E-AEEA-9EC5A884FF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58460959"/>
        <c:axId val="1"/>
      </c:barChart>
      <c:catAx>
        <c:axId val="35846095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9914579693.2954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5846095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4596273291925466E-2"/>
          <c:y val="6.4596273291925466E-2"/>
          <c:w val="0.87080745341614907"/>
          <c:h val="0.87080745341614907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B51B4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BBE5-4613-B1B1-34E4834377E4}"/>
              </c:ext>
            </c:extLst>
          </c:dPt>
          <c:dPt>
            <c:idx val="1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BBE5-4613-B1B1-34E4834377E4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33.333333333333329</c:v>
                </c:pt>
                <c:pt idx="1">
                  <c:v>66.6666666666666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BE5-4613-B1B1-34E4834377E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4596273291925466E-2"/>
          <c:y val="6.4596273291925466E-2"/>
          <c:w val="0.87080745341614907"/>
          <c:h val="0.87080745341614907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B51B4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5643-4059-938A-4B43C01AB89E}"/>
              </c:ext>
            </c:extLst>
          </c:dPt>
          <c:dPt>
            <c:idx val="1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5643-4059-938A-4B43C01AB89E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30.303030303030305</c:v>
                </c:pt>
                <c:pt idx="1">
                  <c:v>69.6969696969697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643-4059-938A-4B43C01AB8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216931216931217"/>
          <c:y val="1.849217638691323E-2"/>
          <c:w val="0.77460317460317463"/>
          <c:h val="0.963015647226173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B51B4F"/>
            </a:solidFill>
            <a:ln>
              <a:noFill/>
            </a:ln>
          </c:spPr>
          <c:invertIfNegative val="0"/>
          <c:dLbls>
            <c:dLbl>
              <c:idx val="8"/>
              <c:layout>
                <c:manualLayout>
                  <c:x val="0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509-4A2A-A53E-F876894B6CCD}"/>
                </c:ext>
              </c:extLst>
            </c:dLbl>
            <c:dLbl>
              <c:idx val="9"/>
              <c:layout>
                <c:manualLayout>
                  <c:x val="-1.0582010582010583E-3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509-4A2A-A53E-F876894B6CCD}"/>
                </c:ext>
              </c:extLst>
            </c:dLbl>
            <c:dLbl>
              <c:idx val="10"/>
              <c:layout>
                <c:manualLayout>
                  <c:x val="0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5509-4A2A-A53E-F876894B6CCD}"/>
                </c:ext>
              </c:extLst>
            </c:dLbl>
            <c:dLbl>
              <c:idx val="11"/>
              <c:layout>
                <c:manualLayout>
                  <c:x val="-1.0582010582010583E-3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5509-4A2A-A53E-F876894B6CCD}"/>
                </c:ext>
              </c:extLst>
            </c:dLbl>
            <c:dLbl>
              <c:idx val="12"/>
              <c:layout>
                <c:manualLayout>
                  <c:x val="0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5509-4A2A-A53E-F876894B6CCD}"/>
                </c:ext>
              </c:extLst>
            </c:dLbl>
            <c:dLbl>
              <c:idx val="13"/>
              <c:layout>
                <c:manualLayout>
                  <c:x val="0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5509-4A2A-A53E-F876894B6CCD}"/>
                </c:ext>
              </c:extLst>
            </c:dLbl>
            <c:dLbl>
              <c:idx val="14"/>
              <c:layout>
                <c:manualLayout>
                  <c:x val="0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5509-4A2A-A53E-F876894B6CCD}"/>
                </c:ext>
              </c:extLst>
            </c:dLbl>
            <c:dLbl>
              <c:idx val="15"/>
              <c:layout>
                <c:manualLayout>
                  <c:x val="0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5509-4A2A-A53E-F876894B6CCD}"/>
                </c:ext>
              </c:extLst>
            </c:dLbl>
            <c:dLbl>
              <c:idx val="16"/>
              <c:layout>
                <c:manualLayout>
                  <c:x val="0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5509-4A2A-A53E-F876894B6CCD}"/>
                </c:ext>
              </c:extLst>
            </c:dLbl>
            <c:dLbl>
              <c:idx val="18"/>
              <c:layout>
                <c:manualLayout>
                  <c:x val="0.11322751322751323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5509-4A2A-A53E-F876894B6CCD}"/>
                </c:ext>
              </c:extLst>
            </c:dLbl>
            <c:dLbl>
              <c:idx val="19"/>
              <c:layout>
                <c:manualLayout>
                  <c:x val="0.10264550264550265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5509-4A2A-A53E-F876894B6CCD}"/>
                </c:ext>
              </c:extLst>
            </c:dLbl>
            <c:dLbl>
              <c:idx val="20"/>
              <c:layout>
                <c:manualLayout>
                  <c:x val="7.0899470899470893E-2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5509-4A2A-A53E-F876894B6CC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U$1</c:f>
              <c:numCache>
                <c:formatCode>General</c:formatCode>
                <c:ptCount val="21"/>
                <c:pt idx="0">
                  <c:v>2645</c:v>
                </c:pt>
                <c:pt idx="1">
                  <c:v>2591</c:v>
                </c:pt>
                <c:pt idx="2">
                  <c:v>2127</c:v>
                </c:pt>
                <c:pt idx="3">
                  <c:v>2041</c:v>
                </c:pt>
                <c:pt idx="4">
                  <c:v>1623</c:v>
                </c:pt>
                <c:pt idx="5">
                  <c:v>1344</c:v>
                </c:pt>
                <c:pt idx="6">
                  <c:v>1248</c:v>
                </c:pt>
                <c:pt idx="7">
                  <c:v>1003</c:v>
                </c:pt>
                <c:pt idx="8">
                  <c:v>984</c:v>
                </c:pt>
                <c:pt idx="9">
                  <c:v>887</c:v>
                </c:pt>
                <c:pt idx="10">
                  <c:v>880</c:v>
                </c:pt>
                <c:pt idx="11">
                  <c:v>858</c:v>
                </c:pt>
                <c:pt idx="12">
                  <c:v>808</c:v>
                </c:pt>
                <c:pt idx="13">
                  <c:v>639</c:v>
                </c:pt>
                <c:pt idx="14">
                  <c:v>564</c:v>
                </c:pt>
                <c:pt idx="15">
                  <c:v>536</c:v>
                </c:pt>
                <c:pt idx="16">
                  <c:v>444</c:v>
                </c:pt>
                <c:pt idx="17">
                  <c:v>438</c:v>
                </c:pt>
                <c:pt idx="18">
                  <c:v>242</c:v>
                </c:pt>
                <c:pt idx="19">
                  <c:v>175</c:v>
                </c:pt>
                <c:pt idx="20">
                  <c:v>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5509-4A2A-A53E-F876894B6CC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82951375"/>
        <c:axId val="1"/>
      </c:barChart>
      <c:catAx>
        <c:axId val="582951375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645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58295137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448246364414029E-2"/>
          <c:y val="1.849217638691323E-2"/>
          <c:w val="0.91103507271171946"/>
          <c:h val="0.963015647226173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Lbls>
            <c:dLbl>
              <c:idx val="7"/>
              <c:layout>
                <c:manualLayout>
                  <c:x val="-8.5543199315654401E-4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138-450C-9B22-7A8BD20AD5E2}"/>
                </c:ext>
              </c:extLst>
            </c:dLbl>
            <c:dLbl>
              <c:idx val="11"/>
              <c:layout>
                <c:manualLayout>
                  <c:x val="0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138-450C-9B22-7A8BD20AD5E2}"/>
                </c:ext>
              </c:extLst>
            </c:dLbl>
            <c:dLbl>
              <c:idx val="12"/>
              <c:layout>
                <c:manualLayout>
                  <c:x val="0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A138-450C-9B22-7A8BD20AD5E2}"/>
                </c:ext>
              </c:extLst>
            </c:dLbl>
            <c:dLbl>
              <c:idx val="13"/>
              <c:layout>
                <c:manualLayout>
                  <c:x val="0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138-450C-9B22-7A8BD20AD5E2}"/>
                </c:ext>
              </c:extLst>
            </c:dLbl>
            <c:dLbl>
              <c:idx val="15"/>
              <c:layout>
                <c:manualLayout>
                  <c:x val="0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A138-450C-9B22-7A8BD20AD5E2}"/>
                </c:ext>
              </c:extLst>
            </c:dLbl>
            <c:dLbl>
              <c:idx val="18"/>
              <c:layout>
                <c:manualLayout>
                  <c:x val="0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A138-450C-9B22-7A8BD20AD5E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U$1</c:f>
              <c:numCache>
                <c:formatCode>General</c:formatCode>
                <c:ptCount val="21"/>
                <c:pt idx="0">
                  <c:v>3201</c:v>
                </c:pt>
                <c:pt idx="1">
                  <c:v>4685</c:v>
                </c:pt>
                <c:pt idx="2">
                  <c:v>3322</c:v>
                </c:pt>
                <c:pt idx="3">
                  <c:v>3326</c:v>
                </c:pt>
                <c:pt idx="4">
                  <c:v>1839</c:v>
                </c:pt>
                <c:pt idx="5">
                  <c:v>1511</c:v>
                </c:pt>
                <c:pt idx="6">
                  <c:v>1929</c:v>
                </c:pt>
                <c:pt idx="7">
                  <c:v>992</c:v>
                </c:pt>
                <c:pt idx="8">
                  <c:v>1355</c:v>
                </c:pt>
                <c:pt idx="9">
                  <c:v>1574</c:v>
                </c:pt>
                <c:pt idx="10">
                  <c:v>1331</c:v>
                </c:pt>
                <c:pt idx="11">
                  <c:v>769</c:v>
                </c:pt>
                <c:pt idx="12">
                  <c:v>499</c:v>
                </c:pt>
                <c:pt idx="13">
                  <c:v>943</c:v>
                </c:pt>
                <c:pt idx="14">
                  <c:v>1424</c:v>
                </c:pt>
                <c:pt idx="15">
                  <c:v>600</c:v>
                </c:pt>
                <c:pt idx="16">
                  <c:v>4821</c:v>
                </c:pt>
                <c:pt idx="17">
                  <c:v>1073</c:v>
                </c:pt>
                <c:pt idx="18">
                  <c:v>570</c:v>
                </c:pt>
                <c:pt idx="19">
                  <c:v>23</c:v>
                </c:pt>
                <c:pt idx="20">
                  <c:v>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138-450C-9B22-7A8BD20AD5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82886479"/>
        <c:axId val="1"/>
      </c:barChart>
      <c:catAx>
        <c:axId val="582886479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821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58288647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1638530287984111E-2"/>
          <c:y val="1.849217638691323E-2"/>
          <c:w val="0.89672293942403181"/>
          <c:h val="0.963015647226173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Lbls>
            <c:dLbl>
              <c:idx val="7"/>
              <c:layout>
                <c:manualLayout>
                  <c:x val="-9.930486593843098E-4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16E-4534-B288-839A90060716}"/>
                </c:ext>
              </c:extLst>
            </c:dLbl>
            <c:dLbl>
              <c:idx val="12"/>
              <c:layout>
                <c:manualLayout>
                  <c:x val="0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16E-4534-B288-839A90060716}"/>
                </c:ext>
              </c:extLst>
            </c:dLbl>
            <c:dLbl>
              <c:idx val="13"/>
              <c:layout>
                <c:manualLayout>
                  <c:x val="0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16E-4534-B288-839A90060716}"/>
                </c:ext>
              </c:extLst>
            </c:dLbl>
            <c:dLbl>
              <c:idx val="14"/>
              <c:layout>
                <c:manualLayout>
                  <c:x val="-9.930486593843098E-4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16E-4534-B288-839A90060716}"/>
                </c:ext>
              </c:extLst>
            </c:dLbl>
            <c:dLbl>
              <c:idx val="15"/>
              <c:layout>
                <c:manualLayout>
                  <c:x val="0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E16E-4534-B288-839A90060716}"/>
                </c:ext>
              </c:extLst>
            </c:dLbl>
            <c:dLbl>
              <c:idx val="17"/>
              <c:layout>
                <c:manualLayout>
                  <c:x val="0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E16E-4534-B288-839A90060716}"/>
                </c:ext>
              </c:extLst>
            </c:dLbl>
            <c:dLbl>
              <c:idx val="18"/>
              <c:layout>
                <c:manualLayout>
                  <c:x val="0.11420059582919563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E16E-4534-B288-839A90060716}"/>
                </c:ext>
              </c:extLst>
            </c:dLbl>
            <c:dLbl>
              <c:idx val="19"/>
              <c:layout>
                <c:manualLayout>
                  <c:x val="0.10228401191658391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E16E-4534-B288-839A9006071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U$1</c:f>
              <c:numCache>
                <c:formatCode>General</c:formatCode>
                <c:ptCount val="21"/>
                <c:pt idx="0">
                  <c:v>3245</c:v>
                </c:pt>
                <c:pt idx="1">
                  <c:v>2366</c:v>
                </c:pt>
                <c:pt idx="2">
                  <c:v>2701</c:v>
                </c:pt>
                <c:pt idx="3">
                  <c:v>2540</c:v>
                </c:pt>
                <c:pt idx="4">
                  <c:v>2491</c:v>
                </c:pt>
                <c:pt idx="5">
                  <c:v>1927</c:v>
                </c:pt>
                <c:pt idx="6">
                  <c:v>1464</c:v>
                </c:pt>
                <c:pt idx="7">
                  <c:v>889</c:v>
                </c:pt>
                <c:pt idx="8">
                  <c:v>1129</c:v>
                </c:pt>
                <c:pt idx="9">
                  <c:v>1748</c:v>
                </c:pt>
                <c:pt idx="10">
                  <c:v>1723</c:v>
                </c:pt>
                <c:pt idx="11">
                  <c:v>1353</c:v>
                </c:pt>
                <c:pt idx="12">
                  <c:v>640</c:v>
                </c:pt>
                <c:pt idx="13">
                  <c:v>729</c:v>
                </c:pt>
                <c:pt idx="14">
                  <c:v>824</c:v>
                </c:pt>
                <c:pt idx="15">
                  <c:v>532</c:v>
                </c:pt>
                <c:pt idx="16">
                  <c:v>1640</c:v>
                </c:pt>
                <c:pt idx="17">
                  <c:v>971</c:v>
                </c:pt>
                <c:pt idx="18">
                  <c:v>302</c:v>
                </c:pt>
                <c:pt idx="19">
                  <c:v>211</c:v>
                </c:pt>
                <c:pt idx="2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16E-4534-B288-839A900607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58388991"/>
        <c:axId val="1"/>
      </c:barChart>
      <c:catAx>
        <c:axId val="358388991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245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35838899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3068783068783069"/>
          <c:y val="1.849217638691323E-2"/>
          <c:w val="0.53756613756613758"/>
          <c:h val="0.963015647226173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-1.0582010582010583E-3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AD8-40E3-B61E-3FE66BE914FE}"/>
                </c:ext>
              </c:extLst>
            </c:dLbl>
            <c:dLbl>
              <c:idx val="3"/>
              <c:layout>
                <c:manualLayout>
                  <c:x val="0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2AD8-40E3-B61E-3FE66BE914FE}"/>
                </c:ext>
              </c:extLst>
            </c:dLbl>
            <c:dLbl>
              <c:idx val="4"/>
              <c:layout>
                <c:manualLayout>
                  <c:x val="0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2AD8-40E3-B61E-3FE66BE914FE}"/>
                </c:ext>
              </c:extLst>
            </c:dLbl>
            <c:dLbl>
              <c:idx val="6"/>
              <c:layout>
                <c:manualLayout>
                  <c:x val="0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2AD8-40E3-B61E-3FE66BE914FE}"/>
                </c:ext>
              </c:extLst>
            </c:dLbl>
            <c:dLbl>
              <c:idx val="7"/>
              <c:layout>
                <c:manualLayout>
                  <c:x val="0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2AD8-40E3-B61E-3FE66BE914FE}"/>
                </c:ext>
              </c:extLst>
            </c:dLbl>
            <c:dLbl>
              <c:idx val="9"/>
              <c:layout>
                <c:manualLayout>
                  <c:x val="0.11216931216931217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2AD8-40E3-B61E-3FE66BE914FE}"/>
                </c:ext>
              </c:extLst>
            </c:dLbl>
            <c:dLbl>
              <c:idx val="10"/>
              <c:layout>
                <c:manualLayout>
                  <c:x val="0.11534391534391535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2AD8-40E3-B61E-3FE66BE914FE}"/>
                </c:ext>
              </c:extLst>
            </c:dLbl>
            <c:dLbl>
              <c:idx val="11"/>
              <c:layout>
                <c:manualLayout>
                  <c:x val="0.1037037037037037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2AD8-40E3-B61E-3FE66BE914FE}"/>
                </c:ext>
              </c:extLst>
            </c:dLbl>
            <c:dLbl>
              <c:idx val="12"/>
              <c:layout>
                <c:manualLayout>
                  <c:x val="9.2063492063492069E-2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2AD8-40E3-B61E-3FE66BE914FE}"/>
                </c:ext>
              </c:extLst>
            </c:dLbl>
            <c:dLbl>
              <c:idx val="13"/>
              <c:layout>
                <c:manualLayout>
                  <c:x val="0.10052910052910052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2AD8-40E3-B61E-3FE66BE914FE}"/>
                </c:ext>
              </c:extLst>
            </c:dLbl>
            <c:dLbl>
              <c:idx val="15"/>
              <c:layout>
                <c:manualLayout>
                  <c:x val="0.1111111111111111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2AD8-40E3-B61E-3FE66BE914FE}"/>
                </c:ext>
              </c:extLst>
            </c:dLbl>
            <c:dLbl>
              <c:idx val="16"/>
              <c:layout>
                <c:manualLayout>
                  <c:x val="9.841269841269841E-2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2AD8-40E3-B61E-3FE66BE914FE}"/>
                </c:ext>
              </c:extLst>
            </c:dLbl>
            <c:dLbl>
              <c:idx val="17"/>
              <c:layout>
                <c:manualLayout>
                  <c:x val="0.1037037037037037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2AD8-40E3-B61E-3FE66BE914FE}"/>
                </c:ext>
              </c:extLst>
            </c:dLbl>
            <c:dLbl>
              <c:idx val="18"/>
              <c:layout>
                <c:manualLayout>
                  <c:x val="8.9947089947089942E-2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2AD8-40E3-B61E-3FE66BE914FE}"/>
                </c:ext>
              </c:extLst>
            </c:dLbl>
            <c:dLbl>
              <c:idx val="20"/>
              <c:layout>
                <c:manualLayout>
                  <c:x val="6.3492063492063489E-2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2AD8-40E3-B61E-3FE66BE914F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U$1</c:f>
              <c:numCache>
                <c:formatCode>General</c:formatCode>
                <c:ptCount val="21"/>
                <c:pt idx="0">
                  <c:v>2284</c:v>
                </c:pt>
                <c:pt idx="1">
                  <c:v>618</c:v>
                </c:pt>
                <c:pt idx="2">
                  <c:v>1169</c:v>
                </c:pt>
                <c:pt idx="3">
                  <c:v>846</c:v>
                </c:pt>
                <c:pt idx="4">
                  <c:v>754</c:v>
                </c:pt>
                <c:pt idx="5">
                  <c:v>542</c:v>
                </c:pt>
                <c:pt idx="6">
                  <c:v>579</c:v>
                </c:pt>
                <c:pt idx="7">
                  <c:v>561</c:v>
                </c:pt>
                <c:pt idx="8">
                  <c:v>500</c:v>
                </c:pt>
                <c:pt idx="9">
                  <c:v>295</c:v>
                </c:pt>
                <c:pt idx="10">
                  <c:v>322</c:v>
                </c:pt>
                <c:pt idx="11">
                  <c:v>220</c:v>
                </c:pt>
                <c:pt idx="12">
                  <c:v>121</c:v>
                </c:pt>
                <c:pt idx="13">
                  <c:v>197</c:v>
                </c:pt>
                <c:pt idx="14">
                  <c:v>516</c:v>
                </c:pt>
                <c:pt idx="15">
                  <c:v>286</c:v>
                </c:pt>
                <c:pt idx="16">
                  <c:v>178</c:v>
                </c:pt>
                <c:pt idx="17">
                  <c:v>219</c:v>
                </c:pt>
                <c:pt idx="18">
                  <c:v>102</c:v>
                </c:pt>
                <c:pt idx="19">
                  <c:v>0</c:v>
                </c:pt>
                <c:pt idx="20">
                  <c:v>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2AD8-40E3-B61E-3FE66BE914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58427263"/>
        <c:axId val="1"/>
      </c:barChart>
      <c:catAx>
        <c:axId val="358427263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284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35842726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7830687830687828"/>
          <c:y val="1.849217638691323E-2"/>
          <c:w val="0.44232804232804235"/>
          <c:h val="0.963015647226173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6F0-4F49-9E97-D7B74038341C}"/>
                </c:ext>
              </c:extLst>
            </c:dLbl>
            <c:dLbl>
              <c:idx val="1"/>
              <c:layout>
                <c:manualLayout>
                  <c:x val="0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6F0-4F49-9E97-D7B74038341C}"/>
                </c:ext>
              </c:extLst>
            </c:dLbl>
            <c:dLbl>
              <c:idx val="2"/>
              <c:layout>
                <c:manualLayout>
                  <c:x val="0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6F0-4F49-9E97-D7B74038341C}"/>
                </c:ext>
              </c:extLst>
            </c:dLbl>
            <c:dLbl>
              <c:idx val="3"/>
              <c:layout>
                <c:manualLayout>
                  <c:x val="0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B6F0-4F49-9E97-D7B74038341C}"/>
                </c:ext>
              </c:extLst>
            </c:dLbl>
            <c:dLbl>
              <c:idx val="6"/>
              <c:layout>
                <c:manualLayout>
                  <c:x val="0.10687830687830688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B6F0-4F49-9E97-D7B74038341C}"/>
                </c:ext>
              </c:extLst>
            </c:dLbl>
            <c:dLbl>
              <c:idx val="7"/>
              <c:layout>
                <c:manualLayout>
                  <c:x val="0.12592592592592591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B6F0-4F49-9E97-D7B74038341C}"/>
                </c:ext>
              </c:extLst>
            </c:dLbl>
            <c:dLbl>
              <c:idx val="8"/>
              <c:layout>
                <c:manualLayout>
                  <c:x val="0.13015873015873017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B6F0-4F49-9E97-D7B74038341C}"/>
                </c:ext>
              </c:extLst>
            </c:dLbl>
            <c:dLbl>
              <c:idx val="9"/>
              <c:layout>
                <c:manualLayout>
                  <c:x val="0.11216931216931217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B6F0-4F49-9E97-D7B74038341C}"/>
                </c:ext>
              </c:extLst>
            </c:dLbl>
            <c:dLbl>
              <c:idx val="10"/>
              <c:layout>
                <c:manualLayout>
                  <c:x val="0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B6F0-4F49-9E97-D7B74038341C}"/>
                </c:ext>
              </c:extLst>
            </c:dLbl>
            <c:dLbl>
              <c:idx val="13"/>
              <c:layout>
                <c:manualLayout>
                  <c:x val="7.5132275132275134E-2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B6F0-4F49-9E97-D7B74038341C}"/>
                </c:ext>
              </c:extLst>
            </c:dLbl>
            <c:dLbl>
              <c:idx val="14"/>
              <c:layout>
                <c:manualLayout>
                  <c:x val="0.1164021164021164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B6F0-4F49-9E97-D7B74038341C}"/>
                </c:ext>
              </c:extLst>
            </c:dLbl>
            <c:dLbl>
              <c:idx val="15"/>
              <c:layout>
                <c:manualLayout>
                  <c:x val="9.5238095238095233E-2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B6F0-4F49-9E97-D7B74038341C}"/>
                </c:ext>
              </c:extLst>
            </c:dLbl>
            <c:dLbl>
              <c:idx val="16"/>
              <c:layout>
                <c:manualLayout>
                  <c:x val="0.10158730158730159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B6F0-4F49-9E97-D7B74038341C}"/>
                </c:ext>
              </c:extLst>
            </c:dLbl>
            <c:dLbl>
              <c:idx val="17"/>
              <c:layout>
                <c:manualLayout>
                  <c:x val="0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B6F0-4F49-9E97-D7B74038341C}"/>
                </c:ext>
              </c:extLst>
            </c:dLbl>
            <c:dLbl>
              <c:idx val="18"/>
              <c:layout>
                <c:manualLayout>
                  <c:x val="0.1037037037037037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B6F0-4F49-9E97-D7B74038341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U$1</c:f>
              <c:numCache>
                <c:formatCode>General</c:formatCode>
                <c:ptCount val="21"/>
                <c:pt idx="0">
                  <c:v>971</c:v>
                </c:pt>
                <c:pt idx="1">
                  <c:v>539</c:v>
                </c:pt>
                <c:pt idx="2">
                  <c:v>419</c:v>
                </c:pt>
                <c:pt idx="3">
                  <c:v>726</c:v>
                </c:pt>
                <c:pt idx="4">
                  <c:v>1429</c:v>
                </c:pt>
                <c:pt idx="5">
                  <c:v>1238</c:v>
                </c:pt>
                <c:pt idx="6">
                  <c:v>195</c:v>
                </c:pt>
                <c:pt idx="7">
                  <c:v>313</c:v>
                </c:pt>
                <c:pt idx="8">
                  <c:v>346</c:v>
                </c:pt>
                <c:pt idx="9">
                  <c:v>227</c:v>
                </c:pt>
                <c:pt idx="10">
                  <c:v>867</c:v>
                </c:pt>
                <c:pt idx="11">
                  <c:v>3</c:v>
                </c:pt>
                <c:pt idx="12">
                  <c:v>0</c:v>
                </c:pt>
                <c:pt idx="13">
                  <c:v>96</c:v>
                </c:pt>
                <c:pt idx="14">
                  <c:v>254</c:v>
                </c:pt>
                <c:pt idx="15">
                  <c:v>115</c:v>
                </c:pt>
                <c:pt idx="16">
                  <c:v>156</c:v>
                </c:pt>
                <c:pt idx="17">
                  <c:v>760</c:v>
                </c:pt>
                <c:pt idx="18">
                  <c:v>171</c:v>
                </c:pt>
                <c:pt idx="19">
                  <c:v>2</c:v>
                </c:pt>
                <c:pt idx="2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B6F0-4F49-9E97-D7B7403834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58477599"/>
        <c:axId val="1"/>
      </c:barChart>
      <c:catAx>
        <c:axId val="358477599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429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35847759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4279749478079335E-2"/>
          <c:y val="1.849217638691323E-2"/>
          <c:w val="0.89144050104384132"/>
          <c:h val="0.963015647226173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Lbls>
            <c:dLbl>
              <c:idx val="6"/>
              <c:layout>
                <c:manualLayout>
                  <c:x val="0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32E-416D-9966-51898058A288}"/>
                </c:ext>
              </c:extLst>
            </c:dLbl>
            <c:dLbl>
              <c:idx val="7"/>
              <c:layout>
                <c:manualLayout>
                  <c:x val="0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32E-416D-9966-51898058A288}"/>
                </c:ext>
              </c:extLst>
            </c:dLbl>
            <c:dLbl>
              <c:idx val="8"/>
              <c:layout>
                <c:manualLayout>
                  <c:x val="0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832E-416D-9966-51898058A288}"/>
                </c:ext>
              </c:extLst>
            </c:dLbl>
            <c:dLbl>
              <c:idx val="9"/>
              <c:layout>
                <c:manualLayout>
                  <c:x val="0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832E-416D-9966-51898058A288}"/>
                </c:ext>
              </c:extLst>
            </c:dLbl>
            <c:dLbl>
              <c:idx val="12"/>
              <c:layout>
                <c:manualLayout>
                  <c:x val="0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832E-416D-9966-51898058A288}"/>
                </c:ext>
              </c:extLst>
            </c:dLbl>
            <c:dLbl>
              <c:idx val="13"/>
              <c:layout>
                <c:manualLayout>
                  <c:x val="0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832E-416D-9966-51898058A288}"/>
                </c:ext>
              </c:extLst>
            </c:dLbl>
            <c:dLbl>
              <c:idx val="14"/>
              <c:layout>
                <c:manualLayout>
                  <c:x val="0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832E-416D-9966-51898058A288}"/>
                </c:ext>
              </c:extLst>
            </c:dLbl>
            <c:dLbl>
              <c:idx val="17"/>
              <c:layout>
                <c:manualLayout>
                  <c:x val="0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832E-416D-9966-51898058A288}"/>
                </c:ext>
              </c:extLst>
            </c:dLbl>
            <c:dLbl>
              <c:idx val="18"/>
              <c:layout>
                <c:manualLayout>
                  <c:x val="9.6033402922755737E-2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832E-416D-9966-51898058A28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U$1</c:f>
              <c:numCache>
                <c:formatCode>General</c:formatCode>
                <c:ptCount val="21"/>
                <c:pt idx="0">
                  <c:v>2894</c:v>
                </c:pt>
                <c:pt idx="1">
                  <c:v>3216</c:v>
                </c:pt>
                <c:pt idx="2">
                  <c:v>1783</c:v>
                </c:pt>
                <c:pt idx="3">
                  <c:v>2061</c:v>
                </c:pt>
                <c:pt idx="4">
                  <c:v>1468</c:v>
                </c:pt>
                <c:pt idx="5">
                  <c:v>1163</c:v>
                </c:pt>
                <c:pt idx="6">
                  <c:v>994</c:v>
                </c:pt>
                <c:pt idx="7">
                  <c:v>872</c:v>
                </c:pt>
                <c:pt idx="8">
                  <c:v>874</c:v>
                </c:pt>
                <c:pt idx="9">
                  <c:v>918</c:v>
                </c:pt>
                <c:pt idx="10">
                  <c:v>1349</c:v>
                </c:pt>
                <c:pt idx="11">
                  <c:v>1238</c:v>
                </c:pt>
                <c:pt idx="12">
                  <c:v>756</c:v>
                </c:pt>
                <c:pt idx="13">
                  <c:v>716</c:v>
                </c:pt>
                <c:pt idx="14">
                  <c:v>831</c:v>
                </c:pt>
                <c:pt idx="15">
                  <c:v>458</c:v>
                </c:pt>
                <c:pt idx="16">
                  <c:v>429</c:v>
                </c:pt>
                <c:pt idx="17">
                  <c:v>498</c:v>
                </c:pt>
                <c:pt idx="18">
                  <c:v>166</c:v>
                </c:pt>
                <c:pt idx="19">
                  <c:v>0</c:v>
                </c:pt>
                <c:pt idx="2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832E-416D-9966-51898058A2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58376511"/>
        <c:axId val="1"/>
      </c:barChart>
      <c:catAx>
        <c:axId val="358376511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216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35837651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8462255358807084E-2"/>
          <c:y val="1.849217638691323E-2"/>
          <c:w val="0.90307548928238579"/>
          <c:h val="0.963015647226173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B51B4F"/>
            </a:solidFill>
            <a:ln>
              <a:noFill/>
            </a:ln>
          </c:spPr>
          <c:invertIfNegative val="0"/>
          <c:dLbls>
            <c:dLbl>
              <c:idx val="5"/>
              <c:layout>
                <c:manualLayout>
                  <c:x val="-9.3196644920782849E-4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F1A-4C9B-8C56-A9A1DBCB5E57}"/>
                </c:ext>
              </c:extLst>
            </c:dLbl>
            <c:dLbl>
              <c:idx val="6"/>
              <c:layout>
                <c:manualLayout>
                  <c:x val="0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F1A-4C9B-8C56-A9A1DBCB5E57}"/>
                </c:ext>
              </c:extLst>
            </c:dLbl>
            <c:dLbl>
              <c:idx val="7"/>
              <c:layout>
                <c:manualLayout>
                  <c:x val="-9.3196644920782849E-4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CF1A-4C9B-8C56-A9A1DBCB5E57}"/>
                </c:ext>
              </c:extLst>
            </c:dLbl>
            <c:dLbl>
              <c:idx val="8"/>
              <c:layout>
                <c:manualLayout>
                  <c:x val="-9.3196644920782849E-4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CF1A-4C9B-8C56-A9A1DBCB5E57}"/>
                </c:ext>
              </c:extLst>
            </c:dLbl>
            <c:dLbl>
              <c:idx val="9"/>
              <c:layout>
                <c:manualLayout>
                  <c:x val="-9.3196644920782849E-4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CF1A-4C9B-8C56-A9A1DBCB5E57}"/>
                </c:ext>
              </c:extLst>
            </c:dLbl>
            <c:dLbl>
              <c:idx val="10"/>
              <c:layout>
                <c:manualLayout>
                  <c:x val="0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CF1A-4C9B-8C56-A9A1DBCB5E57}"/>
                </c:ext>
              </c:extLst>
            </c:dLbl>
            <c:dLbl>
              <c:idx val="11"/>
              <c:layout>
                <c:manualLayout>
                  <c:x val="-9.3196644920782849E-4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CF1A-4C9B-8C56-A9A1DBCB5E57}"/>
                </c:ext>
              </c:extLst>
            </c:dLbl>
            <c:dLbl>
              <c:idx val="12"/>
              <c:layout>
                <c:manualLayout>
                  <c:x val="0.11835973904939422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CF1A-4C9B-8C56-A9A1DBCB5E57}"/>
                </c:ext>
              </c:extLst>
            </c:dLbl>
            <c:dLbl>
              <c:idx val="13"/>
              <c:layout>
                <c:manualLayout>
                  <c:x val="0.10810810810810811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CF1A-4C9B-8C56-A9A1DBCB5E57}"/>
                </c:ext>
              </c:extLst>
            </c:dLbl>
            <c:dLbl>
              <c:idx val="14"/>
              <c:layout>
                <c:manualLayout>
                  <c:x val="9.9720410065237658E-2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CF1A-4C9B-8C56-A9A1DBCB5E57}"/>
                </c:ext>
              </c:extLst>
            </c:dLbl>
            <c:dLbl>
              <c:idx val="15"/>
              <c:layout>
                <c:manualLayout>
                  <c:x val="9.8788443616029828E-2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CF1A-4C9B-8C56-A9A1DBCB5E57}"/>
                </c:ext>
              </c:extLst>
            </c:dLbl>
            <c:dLbl>
              <c:idx val="16"/>
              <c:layout>
                <c:manualLayout>
                  <c:x val="9.5060577819198508E-2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CF1A-4C9B-8C56-A9A1DBCB5E57}"/>
                </c:ext>
              </c:extLst>
            </c:dLbl>
            <c:dLbl>
              <c:idx val="17"/>
              <c:layout>
                <c:manualLayout>
                  <c:x val="9.5060577819198508E-2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CF1A-4C9B-8C56-A9A1DBCB5E57}"/>
                </c:ext>
              </c:extLst>
            </c:dLbl>
            <c:dLbl>
              <c:idx val="18"/>
              <c:layout>
                <c:manualLayout>
                  <c:x val="9.5060577819198508E-2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CF1A-4C9B-8C56-A9A1DBCB5E5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S$1</c:f>
              <c:numCache>
                <c:formatCode>General</c:formatCode>
                <c:ptCount val="19"/>
                <c:pt idx="0">
                  <c:v>2644</c:v>
                </c:pt>
                <c:pt idx="1">
                  <c:v>1635</c:v>
                </c:pt>
                <c:pt idx="2">
                  <c:v>1375</c:v>
                </c:pt>
                <c:pt idx="3">
                  <c:v>1362</c:v>
                </c:pt>
                <c:pt idx="4">
                  <c:v>1039</c:v>
                </c:pt>
                <c:pt idx="5">
                  <c:v>642</c:v>
                </c:pt>
                <c:pt idx="6">
                  <c:v>519</c:v>
                </c:pt>
                <c:pt idx="7">
                  <c:v>484</c:v>
                </c:pt>
                <c:pt idx="8">
                  <c:v>478</c:v>
                </c:pt>
                <c:pt idx="9">
                  <c:v>418</c:v>
                </c:pt>
                <c:pt idx="10">
                  <c:v>356</c:v>
                </c:pt>
                <c:pt idx="11">
                  <c:v>353</c:v>
                </c:pt>
                <c:pt idx="12">
                  <c:v>294</c:v>
                </c:pt>
                <c:pt idx="13">
                  <c:v>236</c:v>
                </c:pt>
                <c:pt idx="14">
                  <c:v>186</c:v>
                </c:pt>
                <c:pt idx="15">
                  <c:v>179</c:v>
                </c:pt>
                <c:pt idx="16">
                  <c:v>159</c:v>
                </c:pt>
                <c:pt idx="17">
                  <c:v>155</c:v>
                </c:pt>
                <c:pt idx="18">
                  <c:v>1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CF1A-4C9B-8C56-A9A1DBCB5E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353612800"/>
        <c:axId val="1"/>
      </c:barChart>
      <c:catAx>
        <c:axId val="1353612800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644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35361280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8306878306878311E-2"/>
          <c:y val="1.849217638691323E-2"/>
          <c:w val="0.84232804232804237"/>
          <c:h val="0.963015647226173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Lbls>
            <c:dLbl>
              <c:idx val="2"/>
              <c:layout>
                <c:manualLayout>
                  <c:x val="0.12486772486772486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F994-43C5-8296-797D3AFE6A9D}"/>
                </c:ext>
              </c:extLst>
            </c:dLbl>
            <c:dLbl>
              <c:idx val="3"/>
              <c:layout>
                <c:manualLayout>
                  <c:x val="0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F994-43C5-8296-797D3AFE6A9D}"/>
                </c:ext>
              </c:extLst>
            </c:dLbl>
            <c:dLbl>
              <c:idx val="4"/>
              <c:layout>
                <c:manualLayout>
                  <c:x val="0.12592592592592591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F994-43C5-8296-797D3AFE6A9D}"/>
                </c:ext>
              </c:extLst>
            </c:dLbl>
            <c:dLbl>
              <c:idx val="5"/>
              <c:layout>
                <c:manualLayout>
                  <c:x val="0.10158730158730159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F994-43C5-8296-797D3AFE6A9D}"/>
                </c:ext>
              </c:extLst>
            </c:dLbl>
            <c:dLbl>
              <c:idx val="6"/>
              <c:layout>
                <c:manualLayout>
                  <c:x val="0.1343915343915344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F994-43C5-8296-797D3AFE6A9D}"/>
                </c:ext>
              </c:extLst>
            </c:dLbl>
            <c:dLbl>
              <c:idx val="7"/>
              <c:layout>
                <c:manualLayout>
                  <c:x val="0.10264550264550265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F994-43C5-8296-797D3AFE6A9D}"/>
                </c:ext>
              </c:extLst>
            </c:dLbl>
            <c:dLbl>
              <c:idx val="8"/>
              <c:layout>
                <c:manualLayout>
                  <c:x val="6.2433862433862432E-2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F994-43C5-8296-797D3AFE6A9D}"/>
                </c:ext>
              </c:extLst>
            </c:dLbl>
            <c:dLbl>
              <c:idx val="9"/>
              <c:layout>
                <c:manualLayout>
                  <c:x val="0.11746031746031746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F994-43C5-8296-797D3AFE6A9D}"/>
                </c:ext>
              </c:extLst>
            </c:dLbl>
            <c:dLbl>
              <c:idx val="10"/>
              <c:layout>
                <c:manualLayout>
                  <c:x val="0.12275132275132275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F994-43C5-8296-797D3AFE6A9D}"/>
                </c:ext>
              </c:extLst>
            </c:dLbl>
            <c:dLbl>
              <c:idx val="11"/>
              <c:layout>
                <c:manualLayout>
                  <c:x val="7.407407407407407E-2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F994-43C5-8296-797D3AFE6A9D}"/>
                </c:ext>
              </c:extLst>
            </c:dLbl>
            <c:dLbl>
              <c:idx val="12"/>
              <c:layout>
                <c:manualLayout>
                  <c:x val="6.6666666666666666E-2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F994-43C5-8296-797D3AFE6A9D}"/>
                </c:ext>
              </c:extLst>
            </c:dLbl>
            <c:dLbl>
              <c:idx val="14"/>
              <c:layout>
                <c:manualLayout>
                  <c:x val="6.7724867724867729E-2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F994-43C5-8296-797D3AFE6A9D}"/>
                </c:ext>
              </c:extLst>
            </c:dLbl>
            <c:dLbl>
              <c:idx val="15"/>
              <c:layout>
                <c:manualLayout>
                  <c:x val="7.6190476190476197E-2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F994-43C5-8296-797D3AFE6A9D}"/>
                </c:ext>
              </c:extLst>
            </c:dLbl>
            <c:dLbl>
              <c:idx val="17"/>
              <c:layout>
                <c:manualLayout>
                  <c:x val="6.3492063492063489E-2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F994-43C5-8296-797D3AFE6A9D}"/>
                </c:ext>
              </c:extLst>
            </c:dLbl>
            <c:dLbl>
              <c:idx val="18"/>
              <c:layout>
                <c:manualLayout>
                  <c:x val="6.7724867724867729E-2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F994-43C5-8296-797D3AFE6A9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S$1</c:f>
              <c:numCache>
                <c:formatCode>General</c:formatCode>
                <c:ptCount val="19"/>
                <c:pt idx="0">
                  <c:v>2264</c:v>
                </c:pt>
                <c:pt idx="1">
                  <c:v>1582</c:v>
                </c:pt>
                <c:pt idx="2">
                  <c:v>255</c:v>
                </c:pt>
                <c:pt idx="3">
                  <c:v>552</c:v>
                </c:pt>
                <c:pt idx="4">
                  <c:v>265</c:v>
                </c:pt>
                <c:pt idx="5">
                  <c:v>131</c:v>
                </c:pt>
                <c:pt idx="6">
                  <c:v>303</c:v>
                </c:pt>
                <c:pt idx="7">
                  <c:v>137</c:v>
                </c:pt>
                <c:pt idx="8">
                  <c:v>12</c:v>
                </c:pt>
                <c:pt idx="9">
                  <c:v>216</c:v>
                </c:pt>
                <c:pt idx="10">
                  <c:v>244</c:v>
                </c:pt>
                <c:pt idx="11">
                  <c:v>71</c:v>
                </c:pt>
                <c:pt idx="12">
                  <c:v>34</c:v>
                </c:pt>
                <c:pt idx="13">
                  <c:v>0</c:v>
                </c:pt>
                <c:pt idx="14">
                  <c:v>43</c:v>
                </c:pt>
                <c:pt idx="15">
                  <c:v>84</c:v>
                </c:pt>
                <c:pt idx="16">
                  <c:v>0</c:v>
                </c:pt>
                <c:pt idx="17">
                  <c:v>17</c:v>
                </c:pt>
                <c:pt idx="18">
                  <c:v>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F994-43C5-8296-797D3AFE6A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451539856"/>
        <c:axId val="1"/>
      </c:barChart>
      <c:catAx>
        <c:axId val="1451539856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264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45153985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361890694239291E-2"/>
          <c:y val="0.12264150943396226"/>
          <c:w val="0.96927621861152147"/>
          <c:h val="0.7547169811320755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991912670.81000006</c:v>
                </c:pt>
                <c:pt idx="1">
                  <c:v>1049881330.3399999</c:v>
                </c:pt>
                <c:pt idx="2">
                  <c:v>1836123167.6399999</c:v>
                </c:pt>
                <c:pt idx="3">
                  <c:v>1024885978.82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2D2-4935-8764-B62D801B50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772520815"/>
        <c:axId val="1"/>
      </c:barChart>
      <c:catAx>
        <c:axId val="177252081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836123167.639999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77252081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4021164021164021"/>
          <c:y val="1.849217638691323E-2"/>
          <c:w val="0.51851851851851849"/>
          <c:h val="0.963015647226173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C48-4C6B-97A7-B976E941D9F2}"/>
                </c:ext>
              </c:extLst>
            </c:dLbl>
            <c:dLbl>
              <c:idx val="1"/>
              <c:layout>
                <c:manualLayout>
                  <c:x val="0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C48-4C6B-97A7-B976E941D9F2}"/>
                </c:ext>
              </c:extLst>
            </c:dLbl>
            <c:dLbl>
              <c:idx val="2"/>
              <c:layout>
                <c:manualLayout>
                  <c:x val="0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AC48-4C6B-97A7-B976E941D9F2}"/>
                </c:ext>
              </c:extLst>
            </c:dLbl>
            <c:dLbl>
              <c:idx val="3"/>
              <c:layout>
                <c:manualLayout>
                  <c:x val="-1.0582010582010583E-3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C48-4C6B-97A7-B976E941D9F2}"/>
                </c:ext>
              </c:extLst>
            </c:dLbl>
            <c:dLbl>
              <c:idx val="4"/>
              <c:layout>
                <c:manualLayout>
                  <c:x val="0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AC48-4C6B-97A7-B976E941D9F2}"/>
                </c:ext>
              </c:extLst>
            </c:dLbl>
            <c:dLbl>
              <c:idx val="5"/>
              <c:layout>
                <c:manualLayout>
                  <c:x val="7.8306878306878311E-2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AC48-4C6B-97A7-B976E941D9F2}"/>
                </c:ext>
              </c:extLst>
            </c:dLbl>
            <c:dLbl>
              <c:idx val="6"/>
              <c:layout>
                <c:manualLayout>
                  <c:x val="8.3597883597883602E-2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AC48-4C6B-97A7-B976E941D9F2}"/>
                </c:ext>
              </c:extLst>
            </c:dLbl>
            <c:dLbl>
              <c:idx val="7"/>
              <c:layout>
                <c:manualLayout>
                  <c:x val="8.2539682539682538E-2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AC48-4C6B-97A7-B976E941D9F2}"/>
                </c:ext>
              </c:extLst>
            </c:dLbl>
            <c:dLbl>
              <c:idx val="8"/>
              <c:layout>
                <c:manualLayout>
                  <c:x val="6.5608465608465602E-2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AC48-4C6B-97A7-B976E941D9F2}"/>
                </c:ext>
              </c:extLst>
            </c:dLbl>
            <c:dLbl>
              <c:idx val="9"/>
              <c:layout>
                <c:manualLayout>
                  <c:x val="0.12169312169312169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AC48-4C6B-97A7-B976E941D9F2}"/>
                </c:ext>
              </c:extLst>
            </c:dLbl>
            <c:dLbl>
              <c:idx val="10"/>
              <c:layout>
                <c:manualLayout>
                  <c:x val="0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AC48-4C6B-97A7-B976E941D9F2}"/>
                </c:ext>
              </c:extLst>
            </c:dLbl>
            <c:dLbl>
              <c:idx val="11"/>
              <c:layout>
                <c:manualLayout>
                  <c:x val="8.8888888888888892E-2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AC48-4C6B-97A7-B976E941D9F2}"/>
                </c:ext>
              </c:extLst>
            </c:dLbl>
            <c:dLbl>
              <c:idx val="12"/>
              <c:layout>
                <c:manualLayout>
                  <c:x val="8.3597883597883602E-2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AC48-4C6B-97A7-B976E941D9F2}"/>
                </c:ext>
              </c:extLst>
            </c:dLbl>
            <c:dLbl>
              <c:idx val="14"/>
              <c:layout>
                <c:manualLayout>
                  <c:x val="7.301587301587302E-2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AC48-4C6B-97A7-B976E941D9F2}"/>
                </c:ext>
              </c:extLst>
            </c:dLbl>
            <c:dLbl>
              <c:idx val="15"/>
              <c:layout>
                <c:manualLayout>
                  <c:x val="7.301587301587302E-2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AC48-4C6B-97A7-B976E941D9F2}"/>
                </c:ext>
              </c:extLst>
            </c:dLbl>
            <c:dLbl>
              <c:idx val="17"/>
              <c:layout>
                <c:manualLayout>
                  <c:x val="7.8306878306878311E-2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AC48-4C6B-97A7-B976E941D9F2}"/>
                </c:ext>
              </c:extLst>
            </c:dLbl>
            <c:dLbl>
              <c:idx val="18"/>
              <c:layout>
                <c:manualLayout>
                  <c:x val="6.5608465608465602E-2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AC48-4C6B-97A7-B976E941D9F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S$1</c:f>
              <c:numCache>
                <c:formatCode>General</c:formatCode>
                <c:ptCount val="19"/>
                <c:pt idx="0">
                  <c:v>855</c:v>
                </c:pt>
                <c:pt idx="1">
                  <c:v>828</c:v>
                </c:pt>
                <c:pt idx="2">
                  <c:v>293</c:v>
                </c:pt>
                <c:pt idx="3">
                  <c:v>494</c:v>
                </c:pt>
                <c:pt idx="4">
                  <c:v>223</c:v>
                </c:pt>
                <c:pt idx="5">
                  <c:v>60</c:v>
                </c:pt>
                <c:pt idx="6">
                  <c:v>76</c:v>
                </c:pt>
                <c:pt idx="7">
                  <c:v>73</c:v>
                </c:pt>
                <c:pt idx="8">
                  <c:v>17</c:v>
                </c:pt>
                <c:pt idx="9">
                  <c:v>146</c:v>
                </c:pt>
                <c:pt idx="10">
                  <c:v>611</c:v>
                </c:pt>
                <c:pt idx="11">
                  <c:v>95</c:v>
                </c:pt>
                <c:pt idx="12">
                  <c:v>77</c:v>
                </c:pt>
                <c:pt idx="13">
                  <c:v>0</c:v>
                </c:pt>
                <c:pt idx="14">
                  <c:v>40</c:v>
                </c:pt>
                <c:pt idx="15">
                  <c:v>40</c:v>
                </c:pt>
                <c:pt idx="16">
                  <c:v>1</c:v>
                </c:pt>
                <c:pt idx="17">
                  <c:v>60</c:v>
                </c:pt>
                <c:pt idx="18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AC48-4C6B-97A7-B976E941D9F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334030208"/>
        <c:axId val="1"/>
      </c:barChart>
      <c:catAx>
        <c:axId val="1334030208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55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33403020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7513227513227512"/>
          <c:y val="1.849217638691323E-2"/>
          <c:w val="0.44867724867724867"/>
          <c:h val="0.963015647226173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3D5-42BF-84B9-582AF1B1B3F8}"/>
                </c:ext>
              </c:extLst>
            </c:dLbl>
            <c:dLbl>
              <c:idx val="1"/>
              <c:layout>
                <c:manualLayout>
                  <c:x val="0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3D5-42BF-84B9-582AF1B1B3F8}"/>
                </c:ext>
              </c:extLst>
            </c:dLbl>
            <c:dLbl>
              <c:idx val="2"/>
              <c:layout>
                <c:manualLayout>
                  <c:x val="0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53D5-42BF-84B9-582AF1B1B3F8}"/>
                </c:ext>
              </c:extLst>
            </c:dLbl>
            <c:dLbl>
              <c:idx val="4"/>
              <c:layout>
                <c:manualLayout>
                  <c:x val="7.0899470899470893E-2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53D5-42BF-84B9-582AF1B1B3F8}"/>
                </c:ext>
              </c:extLst>
            </c:dLbl>
            <c:dLbl>
              <c:idx val="5"/>
              <c:layout>
                <c:manualLayout>
                  <c:x val="4.7619047619047616E-2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53D5-42BF-84B9-582AF1B1B3F8}"/>
                </c:ext>
              </c:extLst>
            </c:dLbl>
            <c:dLbl>
              <c:idx val="6"/>
              <c:layout>
                <c:manualLayout>
                  <c:x val="7.301587301587302E-2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53D5-42BF-84B9-582AF1B1B3F8}"/>
                </c:ext>
              </c:extLst>
            </c:dLbl>
            <c:dLbl>
              <c:idx val="7"/>
              <c:layout>
                <c:manualLayout>
                  <c:x val="6.7724867724867729E-2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53D5-42BF-84B9-582AF1B1B3F8}"/>
                </c:ext>
              </c:extLst>
            </c:dLbl>
            <c:dLbl>
              <c:idx val="9"/>
              <c:layout>
                <c:manualLayout>
                  <c:x val="9.4179894179894183E-2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53D5-42BF-84B9-582AF1B1B3F8}"/>
                </c:ext>
              </c:extLst>
            </c:dLbl>
            <c:dLbl>
              <c:idx val="10"/>
              <c:layout>
                <c:manualLayout>
                  <c:x val="7.0899470899470893E-2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53D5-42BF-84B9-582AF1B1B3F8}"/>
                </c:ext>
              </c:extLst>
            </c:dLbl>
            <c:dLbl>
              <c:idx val="11"/>
              <c:layout>
                <c:manualLayout>
                  <c:x val="9.6296296296296297E-2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53D5-42BF-84B9-582AF1B1B3F8}"/>
                </c:ext>
              </c:extLst>
            </c:dLbl>
            <c:dLbl>
              <c:idx val="12"/>
              <c:layout>
                <c:manualLayout>
                  <c:x val="4.7619047619047616E-2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53D5-42BF-84B9-582AF1B1B3F8}"/>
                </c:ext>
              </c:extLst>
            </c:dLbl>
            <c:dLbl>
              <c:idx val="13"/>
              <c:layout>
                <c:manualLayout>
                  <c:x val="4.4444444444444446E-2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53D5-42BF-84B9-582AF1B1B3F8}"/>
                </c:ext>
              </c:extLst>
            </c:dLbl>
            <c:dLbl>
              <c:idx val="14"/>
              <c:layout>
                <c:manualLayout>
                  <c:x val="9.1005291005291006E-2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53D5-42BF-84B9-582AF1B1B3F8}"/>
                </c:ext>
              </c:extLst>
            </c:dLbl>
            <c:dLbl>
              <c:idx val="15"/>
              <c:layout>
                <c:manualLayout>
                  <c:x val="4.5502645502645503E-2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53D5-42BF-84B9-582AF1B1B3F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S$1</c:f>
              <c:numCache>
                <c:formatCode>General</c:formatCode>
                <c:ptCount val="19"/>
                <c:pt idx="0">
                  <c:v>242</c:v>
                </c:pt>
                <c:pt idx="1">
                  <c:v>382</c:v>
                </c:pt>
                <c:pt idx="2">
                  <c:v>171</c:v>
                </c:pt>
                <c:pt idx="3">
                  <c:v>69</c:v>
                </c:pt>
                <c:pt idx="4">
                  <c:v>19</c:v>
                </c:pt>
                <c:pt idx="5">
                  <c:v>7</c:v>
                </c:pt>
                <c:pt idx="6">
                  <c:v>22</c:v>
                </c:pt>
                <c:pt idx="7">
                  <c:v>13</c:v>
                </c:pt>
                <c:pt idx="8">
                  <c:v>1</c:v>
                </c:pt>
                <c:pt idx="9">
                  <c:v>58</c:v>
                </c:pt>
                <c:pt idx="10">
                  <c:v>18</c:v>
                </c:pt>
                <c:pt idx="11">
                  <c:v>60</c:v>
                </c:pt>
                <c:pt idx="12">
                  <c:v>6</c:v>
                </c:pt>
                <c:pt idx="13">
                  <c:v>3</c:v>
                </c:pt>
                <c:pt idx="14">
                  <c:v>51</c:v>
                </c:pt>
                <c:pt idx="15">
                  <c:v>4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53D5-42BF-84B9-582AF1B1B3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451529456"/>
        <c:axId val="1"/>
      </c:barChart>
      <c:catAx>
        <c:axId val="1451529456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82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45152945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8306878306878306"/>
          <c:y val="1.849217638691323E-2"/>
          <c:w val="0.23280423280423279"/>
          <c:h val="0.963015647226173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289-4CFD-AE01-5D2EDA061720}"/>
                </c:ext>
              </c:extLst>
            </c:dLbl>
            <c:dLbl>
              <c:idx val="1"/>
              <c:layout>
                <c:manualLayout>
                  <c:x val="4.9735449735449737E-2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289-4CFD-AE01-5D2EDA061720}"/>
                </c:ext>
              </c:extLst>
            </c:dLbl>
            <c:dLbl>
              <c:idx val="2"/>
              <c:layout>
                <c:manualLayout>
                  <c:x val="-1.0582010582010583E-3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5289-4CFD-AE01-5D2EDA061720}"/>
                </c:ext>
              </c:extLst>
            </c:dLbl>
            <c:dLbl>
              <c:idx val="3"/>
              <c:layout>
                <c:manualLayout>
                  <c:x val="8.0423280423280424E-2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5289-4CFD-AE01-5D2EDA061720}"/>
                </c:ext>
              </c:extLst>
            </c:dLbl>
            <c:dLbl>
              <c:idx val="4"/>
              <c:layout>
                <c:manualLayout>
                  <c:x val="9.1005291005291006E-2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5289-4CFD-AE01-5D2EDA061720}"/>
                </c:ext>
              </c:extLst>
            </c:dLbl>
            <c:dLbl>
              <c:idx val="5"/>
              <c:layout>
                <c:manualLayout>
                  <c:x val="9.6296296296296297E-2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5289-4CFD-AE01-5D2EDA061720}"/>
                </c:ext>
              </c:extLst>
            </c:dLbl>
            <c:dLbl>
              <c:idx val="7"/>
              <c:layout>
                <c:manualLayout>
                  <c:x val="8.1481481481481488E-2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5289-4CFD-AE01-5D2EDA061720}"/>
                </c:ext>
              </c:extLst>
            </c:dLbl>
            <c:dLbl>
              <c:idx val="9"/>
              <c:layout>
                <c:manualLayout>
                  <c:x val="4.656084656084656E-2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5289-4CFD-AE01-5D2EDA061720}"/>
                </c:ext>
              </c:extLst>
            </c:dLbl>
            <c:dLbl>
              <c:idx val="11"/>
              <c:layout>
                <c:manualLayout>
                  <c:x val="9.4179894179894183E-2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5289-4CFD-AE01-5D2EDA061720}"/>
                </c:ext>
              </c:extLst>
            </c:dLbl>
            <c:dLbl>
              <c:idx val="12"/>
              <c:layout>
                <c:manualLayout>
                  <c:x val="4.7619047619047616E-2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5289-4CFD-AE01-5D2EDA061720}"/>
                </c:ext>
              </c:extLst>
            </c:dLbl>
            <c:dLbl>
              <c:idx val="14"/>
              <c:layout>
                <c:manualLayout>
                  <c:x val="4.656084656084656E-2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5289-4CFD-AE01-5D2EDA061720}"/>
                </c:ext>
              </c:extLst>
            </c:dLbl>
            <c:dLbl>
              <c:idx val="15"/>
              <c:layout>
                <c:manualLayout>
                  <c:x val="4.656084656084656E-2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5289-4CFD-AE01-5D2EDA061720}"/>
                </c:ext>
              </c:extLst>
            </c:dLbl>
            <c:dLbl>
              <c:idx val="17"/>
              <c:layout>
                <c:manualLayout>
                  <c:x val="4.7619047619047616E-2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5289-4CFD-AE01-5D2EDA06172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S$1</c:f>
              <c:numCache>
                <c:formatCode>General</c:formatCode>
                <c:ptCount val="19"/>
                <c:pt idx="0">
                  <c:v>172</c:v>
                </c:pt>
                <c:pt idx="1">
                  <c:v>9</c:v>
                </c:pt>
                <c:pt idx="2">
                  <c:v>109</c:v>
                </c:pt>
                <c:pt idx="3">
                  <c:v>30</c:v>
                </c:pt>
                <c:pt idx="4">
                  <c:v>45</c:v>
                </c:pt>
                <c:pt idx="5">
                  <c:v>52</c:v>
                </c:pt>
                <c:pt idx="6">
                  <c:v>0</c:v>
                </c:pt>
                <c:pt idx="7">
                  <c:v>31</c:v>
                </c:pt>
                <c:pt idx="8">
                  <c:v>0</c:v>
                </c:pt>
                <c:pt idx="9">
                  <c:v>5</c:v>
                </c:pt>
                <c:pt idx="10">
                  <c:v>0</c:v>
                </c:pt>
                <c:pt idx="11">
                  <c:v>50</c:v>
                </c:pt>
                <c:pt idx="12">
                  <c:v>6</c:v>
                </c:pt>
                <c:pt idx="13">
                  <c:v>0</c:v>
                </c:pt>
                <c:pt idx="14">
                  <c:v>5</c:v>
                </c:pt>
                <c:pt idx="15">
                  <c:v>5</c:v>
                </c:pt>
                <c:pt idx="16">
                  <c:v>0</c:v>
                </c:pt>
                <c:pt idx="17">
                  <c:v>6</c:v>
                </c:pt>
                <c:pt idx="1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5289-4CFD-AE01-5D2EDA0617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334006912"/>
        <c:axId val="1"/>
      </c:barChart>
      <c:catAx>
        <c:axId val="1334006912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72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33400691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5238095238095239"/>
          <c:y val="1.849217638691323E-2"/>
          <c:w val="0.69523809523809521"/>
          <c:h val="0.963015647226173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3AAE-4297-82A6-A371941FC16B}"/>
                </c:ext>
              </c:extLst>
            </c:dLbl>
            <c:dLbl>
              <c:idx val="3"/>
              <c:layout>
                <c:manualLayout>
                  <c:x val="0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3AAE-4297-82A6-A371941FC16B}"/>
                </c:ext>
              </c:extLst>
            </c:dLbl>
            <c:dLbl>
              <c:idx val="4"/>
              <c:layout>
                <c:manualLayout>
                  <c:x val="-1.0582010582010583E-3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3AAE-4297-82A6-A371941FC16B}"/>
                </c:ext>
              </c:extLst>
            </c:dLbl>
            <c:dLbl>
              <c:idx val="5"/>
              <c:layout>
                <c:manualLayout>
                  <c:x val="7.5132275132275134E-2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3AAE-4297-82A6-A371941FC16B}"/>
                </c:ext>
              </c:extLst>
            </c:dLbl>
            <c:dLbl>
              <c:idx val="6"/>
              <c:layout>
                <c:manualLayout>
                  <c:x val="0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3AAE-4297-82A6-A371941FC16B}"/>
                </c:ext>
              </c:extLst>
            </c:dLbl>
            <c:dLbl>
              <c:idx val="7"/>
              <c:layout>
                <c:manualLayout>
                  <c:x val="0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3AAE-4297-82A6-A371941FC16B}"/>
                </c:ext>
              </c:extLst>
            </c:dLbl>
            <c:dLbl>
              <c:idx val="9"/>
              <c:layout>
                <c:manualLayout>
                  <c:x val="0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3AAE-4297-82A6-A371941FC16B}"/>
                </c:ext>
              </c:extLst>
            </c:dLbl>
            <c:dLbl>
              <c:idx val="10"/>
              <c:layout>
                <c:manualLayout>
                  <c:x val="-1.0582010582010583E-3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3AAE-4297-82A6-A371941FC16B}"/>
                </c:ext>
              </c:extLst>
            </c:dLbl>
            <c:dLbl>
              <c:idx val="11"/>
              <c:layout>
                <c:manualLayout>
                  <c:x val="0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3AAE-4297-82A6-A371941FC16B}"/>
                </c:ext>
              </c:extLst>
            </c:dLbl>
            <c:dLbl>
              <c:idx val="12"/>
              <c:layout>
                <c:manualLayout>
                  <c:x val="8.3597883597883602E-2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3AAE-4297-82A6-A371941FC16B}"/>
                </c:ext>
              </c:extLst>
            </c:dLbl>
            <c:dLbl>
              <c:idx val="14"/>
              <c:layout>
                <c:manualLayout>
                  <c:x val="8.2539682539682538E-2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3AAE-4297-82A6-A371941FC16B}"/>
                </c:ext>
              </c:extLst>
            </c:dLbl>
            <c:dLbl>
              <c:idx val="15"/>
              <c:layout>
                <c:manualLayout>
                  <c:x val="0.12063492063492064"/>
                  <c:y val="7.112375533428165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3AAE-4297-82A6-A371941FC16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S$1</c:f>
              <c:numCache>
                <c:formatCode>General</c:formatCode>
                <c:ptCount val="19"/>
                <c:pt idx="0">
                  <c:v>957</c:v>
                </c:pt>
                <c:pt idx="1">
                  <c:v>1167</c:v>
                </c:pt>
                <c:pt idx="2">
                  <c:v>0</c:v>
                </c:pt>
                <c:pt idx="3">
                  <c:v>814</c:v>
                </c:pt>
                <c:pt idx="4">
                  <c:v>269</c:v>
                </c:pt>
                <c:pt idx="5">
                  <c:v>49</c:v>
                </c:pt>
                <c:pt idx="6">
                  <c:v>452</c:v>
                </c:pt>
                <c:pt idx="7">
                  <c:v>442</c:v>
                </c:pt>
                <c:pt idx="8">
                  <c:v>0</c:v>
                </c:pt>
                <c:pt idx="9">
                  <c:v>348</c:v>
                </c:pt>
                <c:pt idx="10">
                  <c:v>961</c:v>
                </c:pt>
                <c:pt idx="11">
                  <c:v>619</c:v>
                </c:pt>
                <c:pt idx="12">
                  <c:v>79</c:v>
                </c:pt>
                <c:pt idx="13">
                  <c:v>0</c:v>
                </c:pt>
                <c:pt idx="14">
                  <c:v>72</c:v>
                </c:pt>
                <c:pt idx="15">
                  <c:v>148</c:v>
                </c:pt>
                <c:pt idx="16">
                  <c:v>0</c:v>
                </c:pt>
                <c:pt idx="17">
                  <c:v>216</c:v>
                </c:pt>
                <c:pt idx="18">
                  <c:v>1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3AAE-4297-82A6-A371941FC1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451513232"/>
        <c:axId val="1"/>
      </c:barChart>
      <c:catAx>
        <c:axId val="1451513232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167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45151323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70941438102298E-3"/>
          <c:y val="5.1948051948051951E-2"/>
          <c:w val="0.98458117123795408"/>
          <c:h val="0.8961038961038960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B51B4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D4EA-4FA8-86EE-EE74111C6FC6}"/>
              </c:ext>
            </c:extLst>
          </c:dPt>
          <c:dLbls>
            <c:dLbl>
              <c:idx val="0"/>
              <c:layout>
                <c:manualLayout>
                  <c:x val="0"/>
                  <c:y val="-0.3866133866133866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D4EA-4FA8-86EE-EE74111C6FC6}"/>
                </c:ext>
              </c:extLst>
            </c:dLbl>
            <c:dLbl>
              <c:idx val="3"/>
              <c:layout>
                <c:manualLayout>
                  <c:x val="0"/>
                  <c:y val="-0.3516483516483516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D4EA-4FA8-86EE-EE74111C6FC6}"/>
                </c:ext>
              </c:extLst>
            </c:dLbl>
            <c:dLbl>
              <c:idx val="4"/>
              <c:layout>
                <c:manualLayout>
                  <c:x val="0"/>
                  <c:y val="-0.2277722277722277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D4EA-4FA8-86EE-EE74111C6FC6}"/>
                </c:ext>
              </c:extLst>
            </c:dLbl>
            <c:dLbl>
              <c:idx val="5"/>
              <c:layout>
                <c:manualLayout>
                  <c:x val="0"/>
                  <c:y val="-0.1758241758241758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D4EA-4FA8-86EE-EE74111C6FC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984</c:v>
                </c:pt>
                <c:pt idx="1">
                  <c:v>1355</c:v>
                </c:pt>
                <c:pt idx="2">
                  <c:v>1129</c:v>
                </c:pt>
                <c:pt idx="3">
                  <c:v>874</c:v>
                </c:pt>
                <c:pt idx="4">
                  <c:v>500</c:v>
                </c:pt>
                <c:pt idx="5">
                  <c:v>3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4EA-4FA8-86EE-EE74111C6F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445790304"/>
        <c:axId val="1"/>
      </c:barChart>
      <c:catAx>
        <c:axId val="144579030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35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44579030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6041206769683591"/>
          <c:y val="5.0632911392405063E-2"/>
          <c:w val="0.67917586460632817"/>
          <c:h val="0.89873417721518989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364D6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01D8-4E0A-82BC-D56911669B0A}"/>
              </c:ext>
            </c:extLst>
          </c:dPt>
          <c:dPt>
            <c:idx val="1"/>
            <c:bubble3D val="0"/>
            <c:spPr>
              <a:solidFill>
                <a:srgbClr val="4C6C9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01D8-4E0A-82BC-D56911669B0A}"/>
              </c:ext>
            </c:extLst>
          </c:dPt>
          <c:dPt>
            <c:idx val="2"/>
            <c:bubble3D val="0"/>
            <c:spPr>
              <a:solidFill>
                <a:srgbClr val="6F8DB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01D8-4E0A-82BC-D56911669B0A}"/>
              </c:ext>
            </c:extLst>
          </c:dPt>
          <c:dPt>
            <c:idx val="3"/>
            <c:bubble3D val="0"/>
            <c:spPr>
              <a:solidFill>
                <a:srgbClr val="9DB1C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01D8-4E0A-82BC-D56911669B0A}"/>
              </c:ext>
            </c:extLst>
          </c:dPt>
          <c:dPt>
            <c:idx val="4"/>
            <c:bubble3D val="0"/>
            <c:spPr>
              <a:solidFill>
                <a:srgbClr val="C3CFE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01D8-4E0A-82BC-D56911669B0A}"/>
              </c:ext>
            </c:extLst>
          </c:dPt>
          <c:dLbls>
            <c:dLbl>
              <c:idx val="0"/>
              <c:layout>
                <c:manualLayout>
                  <c:x val="1.5452538631346579E-2"/>
                  <c:y val="-8.7633885102239538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1D8-4E0A-82BC-D56911669B0A}"/>
                </c:ext>
              </c:extLst>
            </c:dLbl>
            <c:dLbl>
              <c:idx val="1"/>
              <c:layout>
                <c:manualLayout>
                  <c:x val="5.8866813833701251E-3"/>
                  <c:y val="5.1606621226874393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1D8-4E0A-82BC-D56911669B0A}"/>
                </c:ext>
              </c:extLst>
            </c:dLbl>
            <c:dLbl>
              <c:idx val="2"/>
              <c:layout>
                <c:manualLayout>
                  <c:x val="-1.3980868285504048E-2"/>
                  <c:y val="8.7633885102239538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01D8-4E0A-82BC-D56911669B0A}"/>
                </c:ext>
              </c:extLst>
            </c:dLbl>
            <c:dLbl>
              <c:idx val="3"/>
              <c:layout>
                <c:manualLayout>
                  <c:x val="-1.3980868285504048E-2"/>
                  <c:y val="-1.5579357351509251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01D8-4E0A-82BC-D56911669B0A}"/>
                </c:ext>
              </c:extLst>
            </c:dLbl>
            <c:dLbl>
              <c:idx val="4"/>
              <c:layout>
                <c:manualLayout>
                  <c:x val="-1.0301692420897719E-2"/>
                  <c:y val="-5.4527750730282376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01D8-4E0A-82BC-D56911669B0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5</c:f>
              <c:numCache>
                <c:formatCode>General</c:formatCode>
                <c:ptCount val="5"/>
                <c:pt idx="0">
                  <c:v>40.040650406504064</c:v>
                </c:pt>
                <c:pt idx="1">
                  <c:v>15.040650406504067</c:v>
                </c:pt>
                <c:pt idx="2">
                  <c:v>22.560975609756099</c:v>
                </c:pt>
                <c:pt idx="3">
                  <c:v>14.02439024390244</c:v>
                </c:pt>
                <c:pt idx="4">
                  <c:v>8.33333333333333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01D8-4E0A-82BC-D56911669B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4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6041206769683591"/>
          <c:y val="5.0632911392405063E-2"/>
          <c:w val="0.67917586460632817"/>
          <c:h val="0.89873417721518989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364D6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DD35-49DC-9134-A9307B1B087B}"/>
              </c:ext>
            </c:extLst>
          </c:dPt>
          <c:dPt>
            <c:idx val="1"/>
            <c:bubble3D val="0"/>
            <c:spPr>
              <a:solidFill>
                <a:srgbClr val="4C6C9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DD35-49DC-9134-A9307B1B087B}"/>
              </c:ext>
            </c:extLst>
          </c:dPt>
          <c:dPt>
            <c:idx val="2"/>
            <c:bubble3D val="0"/>
            <c:spPr>
              <a:solidFill>
                <a:srgbClr val="6F8DB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DD35-49DC-9134-A9307B1B087B}"/>
              </c:ext>
            </c:extLst>
          </c:dPt>
          <c:dPt>
            <c:idx val="3"/>
            <c:bubble3D val="0"/>
            <c:spPr>
              <a:solidFill>
                <a:srgbClr val="9DB1C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DD35-49DC-9134-A9307B1B087B}"/>
              </c:ext>
            </c:extLst>
          </c:dPt>
          <c:dPt>
            <c:idx val="4"/>
            <c:bubble3D val="0"/>
            <c:spPr>
              <a:solidFill>
                <a:srgbClr val="C3CFE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DD35-49DC-9134-A9307B1B087B}"/>
              </c:ext>
            </c:extLst>
          </c:dPt>
          <c:dLbls>
            <c:dLbl>
              <c:idx val="0"/>
              <c:layout>
                <c:manualLayout>
                  <c:x val="1.5452538631346579E-2"/>
                  <c:y val="-8.7633885102239538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DD35-49DC-9134-A9307B1B087B}"/>
                </c:ext>
              </c:extLst>
            </c:dLbl>
            <c:dLbl>
              <c:idx val="1"/>
              <c:layout>
                <c:manualLayout>
                  <c:x val="-1.3245033112582781E-2"/>
                  <c:y val="2.4342745861733205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DD35-49DC-9134-A9307B1B087B}"/>
                </c:ext>
              </c:extLst>
            </c:dLbl>
            <c:dLbl>
              <c:idx val="2"/>
              <c:layout>
                <c:manualLayout>
                  <c:x val="-1.4716703458425313E-2"/>
                  <c:y val="-1.2658227848101266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DD35-49DC-9134-A9307B1B087B}"/>
                </c:ext>
              </c:extLst>
            </c:dLbl>
            <c:dLbl>
              <c:idx val="3"/>
              <c:layout>
                <c:manualLayout>
                  <c:x val="-1.4716703458425313E-2"/>
                  <c:y val="-4.5764362220058426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DD35-49DC-9134-A9307B1B087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5</c:f>
              <c:numCache>
                <c:formatCode>General</c:formatCode>
                <c:ptCount val="5"/>
                <c:pt idx="0">
                  <c:v>40.811808118081181</c:v>
                </c:pt>
                <c:pt idx="1">
                  <c:v>36.974169741697416</c:v>
                </c:pt>
                <c:pt idx="2">
                  <c:v>10.77490774907749</c:v>
                </c:pt>
                <c:pt idx="3">
                  <c:v>9.5940959409594093</c:v>
                </c:pt>
                <c:pt idx="4">
                  <c:v>1.84501845018450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D35-49DC-9134-A9307B1B08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4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5526122148638705"/>
          <c:y val="5.0632911392405063E-2"/>
          <c:w val="0.67917586460632817"/>
          <c:h val="0.89873417721518989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364D6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C551-483F-8FEE-B030EBF8756F}"/>
              </c:ext>
            </c:extLst>
          </c:dPt>
          <c:dPt>
            <c:idx val="1"/>
            <c:bubble3D val="0"/>
            <c:spPr>
              <a:solidFill>
                <a:srgbClr val="4C6C9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C551-483F-8FEE-B030EBF8756F}"/>
              </c:ext>
            </c:extLst>
          </c:dPt>
          <c:dPt>
            <c:idx val="2"/>
            <c:bubble3D val="0"/>
            <c:spPr>
              <a:solidFill>
                <a:srgbClr val="6F8DB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C551-483F-8FEE-B030EBF8756F}"/>
              </c:ext>
            </c:extLst>
          </c:dPt>
          <c:dPt>
            <c:idx val="3"/>
            <c:bubble3D val="0"/>
            <c:spPr>
              <a:solidFill>
                <a:srgbClr val="9DB1C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C551-483F-8FEE-B030EBF8756F}"/>
              </c:ext>
            </c:extLst>
          </c:dPt>
          <c:dPt>
            <c:idx val="4"/>
            <c:bubble3D val="0"/>
            <c:spPr>
              <a:solidFill>
                <a:srgbClr val="C3CFE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C551-483F-8FEE-B030EBF8756F}"/>
              </c:ext>
            </c:extLst>
          </c:dPt>
          <c:dLbls>
            <c:dLbl>
              <c:idx val="0"/>
              <c:layout>
                <c:manualLayout>
                  <c:x val="1.839587932303164E-2"/>
                  <c:y val="-5.8422590068159686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551-483F-8FEE-B030EBF8756F}"/>
                </c:ext>
              </c:extLst>
            </c:dLbl>
            <c:dLbl>
              <c:idx val="1"/>
              <c:layout>
                <c:manualLayout>
                  <c:x val="-1.3980868285504048E-2"/>
                  <c:y val="1.7526777020447908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551-483F-8FEE-B030EBF8756F}"/>
                </c:ext>
              </c:extLst>
            </c:dLbl>
            <c:dLbl>
              <c:idx val="2"/>
              <c:layout>
                <c:manualLayout>
                  <c:x val="-2.35467255334805E-2"/>
                  <c:y val="-2.0447906523855891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C551-483F-8FEE-B030EBF8756F}"/>
                </c:ext>
              </c:extLst>
            </c:dLbl>
            <c:dLbl>
              <c:idx val="3"/>
              <c:layout>
                <c:manualLayout>
                  <c:x val="-1.2509197939661517E-2"/>
                  <c:y val="-3.7000973709834468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C551-483F-8FEE-B030EBF8756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5</c:f>
              <c:numCache>
                <c:formatCode>General</c:formatCode>
                <c:ptCount val="5"/>
                <c:pt idx="0">
                  <c:v>45.438441098317092</c:v>
                </c:pt>
                <c:pt idx="1">
                  <c:v>33.392382639503985</c:v>
                </c:pt>
                <c:pt idx="2">
                  <c:v>9.0345438441098302</c:v>
                </c:pt>
                <c:pt idx="3">
                  <c:v>10.008857395925599</c:v>
                </c:pt>
                <c:pt idx="4">
                  <c:v>2.12577502214348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551-483F-8FEE-B030EBF875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4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5967623252391464"/>
          <c:y val="5.0632911392405063E-2"/>
          <c:w val="0.67917586460632817"/>
          <c:h val="0.89873417721518989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364D6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0775-4CB4-9BF6-E6E036545FAF}"/>
              </c:ext>
            </c:extLst>
          </c:dPt>
          <c:dPt>
            <c:idx val="1"/>
            <c:bubble3D val="0"/>
            <c:spPr>
              <a:solidFill>
                <a:srgbClr val="4C6C9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0775-4CB4-9BF6-E6E036545FAF}"/>
              </c:ext>
            </c:extLst>
          </c:dPt>
          <c:dPt>
            <c:idx val="2"/>
            <c:bubble3D val="0"/>
            <c:spPr>
              <a:solidFill>
                <a:srgbClr val="6F8DB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0775-4CB4-9BF6-E6E036545FAF}"/>
              </c:ext>
            </c:extLst>
          </c:dPt>
          <c:dPt>
            <c:idx val="3"/>
            <c:bubble3D val="0"/>
            <c:spPr>
              <a:solidFill>
                <a:srgbClr val="9DB1C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0775-4CB4-9BF6-E6E036545FAF}"/>
              </c:ext>
            </c:extLst>
          </c:dPt>
          <c:dPt>
            <c:idx val="4"/>
            <c:bubble3D val="0"/>
            <c:spPr>
              <a:solidFill>
                <a:srgbClr val="C3CFE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0775-4CB4-9BF6-E6E036545FAF}"/>
              </c:ext>
            </c:extLst>
          </c:dPt>
          <c:dLbls>
            <c:dLbl>
              <c:idx val="0"/>
              <c:layout>
                <c:manualLayout>
                  <c:x val="1.6188373804267846E-2"/>
                  <c:y val="-7.7896786757546254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775-4CB4-9BF6-E6E036545FAF}"/>
                </c:ext>
              </c:extLst>
            </c:dLbl>
            <c:dLbl>
              <c:idx val="1"/>
              <c:layout>
                <c:manualLayout>
                  <c:x val="-8.0941869021339229E-3"/>
                  <c:y val="4.6738072054527749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775-4CB4-9BF6-E6E036545FAF}"/>
                </c:ext>
              </c:extLst>
            </c:dLbl>
            <c:dLbl>
              <c:idx val="2"/>
              <c:layout>
                <c:manualLayout>
                  <c:x val="-1.9131714495952908E-2"/>
                  <c:y val="0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0775-4CB4-9BF6-E6E036545FAF}"/>
                </c:ext>
              </c:extLst>
            </c:dLbl>
            <c:dLbl>
              <c:idx val="3"/>
              <c:layout>
                <c:manualLayout>
                  <c:x val="-1.3980868285504048E-2"/>
                  <c:y val="-2.1421616358325218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0775-4CB4-9BF6-E6E036545FA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5</c:f>
              <c:numCache>
                <c:formatCode>General</c:formatCode>
                <c:ptCount val="5"/>
                <c:pt idx="0">
                  <c:v>41.304347826086953</c:v>
                </c:pt>
                <c:pt idx="1">
                  <c:v>24.256292906178491</c:v>
                </c:pt>
                <c:pt idx="2">
                  <c:v>16.819221967963387</c:v>
                </c:pt>
                <c:pt idx="3">
                  <c:v>11.098398169336384</c:v>
                </c:pt>
                <c:pt idx="4">
                  <c:v>6.52173913043478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0775-4CB4-9BF6-E6E036545FA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4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5305371596762327"/>
          <c:y val="5.0632911392405063E-2"/>
          <c:w val="0.67917586460632817"/>
          <c:h val="0.89873417721518989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364D6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56BE-4721-9880-62FE853B90DE}"/>
              </c:ext>
            </c:extLst>
          </c:dPt>
          <c:dPt>
            <c:idx val="1"/>
            <c:bubble3D val="0"/>
            <c:spPr>
              <a:solidFill>
                <a:srgbClr val="4C6C9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56BE-4721-9880-62FE853B90DE}"/>
              </c:ext>
            </c:extLst>
          </c:dPt>
          <c:dPt>
            <c:idx val="2"/>
            <c:bubble3D val="0"/>
            <c:spPr>
              <a:solidFill>
                <a:srgbClr val="6F8DB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56BE-4721-9880-62FE853B90DE}"/>
              </c:ext>
            </c:extLst>
          </c:dPt>
          <c:dPt>
            <c:idx val="3"/>
            <c:bubble3D val="0"/>
            <c:spPr>
              <a:solidFill>
                <a:srgbClr val="9DB1C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56BE-4721-9880-62FE853B90DE}"/>
              </c:ext>
            </c:extLst>
          </c:dPt>
          <c:dPt>
            <c:idx val="4"/>
            <c:bubble3D val="0"/>
            <c:spPr>
              <a:solidFill>
                <a:srgbClr val="C3CFE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56BE-4721-9880-62FE853B90DE}"/>
              </c:ext>
            </c:extLst>
          </c:dPt>
          <c:dLbls>
            <c:dLbl>
              <c:idx val="0"/>
              <c:layout>
                <c:manualLayout>
                  <c:x val="1.9867549668874173E-2"/>
                  <c:y val="-1.9474196689386564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6BE-4721-9880-62FE853B90DE}"/>
                </c:ext>
              </c:extLst>
            </c:dLbl>
            <c:dLbl>
              <c:idx val="1"/>
              <c:layout>
                <c:manualLayout>
                  <c:x val="-1.3245033112582781E-2"/>
                  <c:y val="2.2395326192794548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6BE-4721-9880-62FE853B90DE}"/>
                </c:ext>
              </c:extLst>
            </c:dLbl>
            <c:dLbl>
              <c:idx val="2"/>
              <c:layout>
                <c:manualLayout>
                  <c:x val="-1.5452538631346579E-2"/>
                  <c:y val="-8.7633885102239538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56BE-4721-9880-62FE853B90DE}"/>
                </c:ext>
              </c:extLst>
            </c:dLbl>
            <c:dLbl>
              <c:idx val="3"/>
              <c:layout>
                <c:manualLayout>
                  <c:x val="-1.5452538631346579E-2"/>
                  <c:y val="-4.4790652385589096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56BE-4721-9880-62FE853B90D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5</c:f>
              <c:numCache>
                <c:formatCode>General</c:formatCode>
                <c:ptCount val="5"/>
                <c:pt idx="0">
                  <c:v>49.2</c:v>
                </c:pt>
                <c:pt idx="1">
                  <c:v>22</c:v>
                </c:pt>
                <c:pt idx="2">
                  <c:v>17.399999999999999</c:v>
                </c:pt>
                <c:pt idx="3">
                  <c:v>9</c:v>
                </c:pt>
                <c:pt idx="4">
                  <c:v>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6BE-4721-9880-62FE853B90D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361890694239291E-2"/>
          <c:y val="0.11818181818181818"/>
          <c:w val="0.96927621861152147"/>
          <c:h val="0.7636363636363636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0C0C0"/>
            </a:solidFill>
            <a:ln>
              <a:noFill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2182215180.0630002</c:v>
                </c:pt>
                <c:pt idx="1">
                  <c:v>2119713474.0699985</c:v>
                </c:pt>
                <c:pt idx="2">
                  <c:v>2696217650.3109961</c:v>
                </c:pt>
                <c:pt idx="3">
                  <c:v>2272209406.37441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6C9-4868-92BD-24DDD2392F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8496736"/>
        <c:axId val="1"/>
      </c:barChart>
      <c:catAx>
        <c:axId val="184967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696217650.310996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849673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5967623252391464"/>
          <c:y val="5.0632911392405063E-2"/>
          <c:w val="0.67917586460632817"/>
          <c:h val="0.89873417721518989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364D6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2983-4305-A38F-FE019B2624A2}"/>
              </c:ext>
            </c:extLst>
          </c:dPt>
          <c:dPt>
            <c:idx val="1"/>
            <c:bubble3D val="0"/>
            <c:spPr>
              <a:solidFill>
                <a:srgbClr val="4C6C9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2983-4305-A38F-FE019B2624A2}"/>
              </c:ext>
            </c:extLst>
          </c:dPt>
          <c:dPt>
            <c:idx val="2"/>
            <c:bubble3D val="0"/>
            <c:spPr>
              <a:solidFill>
                <a:srgbClr val="6F8DB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2983-4305-A38F-FE019B2624A2}"/>
              </c:ext>
            </c:extLst>
          </c:dPt>
          <c:dPt>
            <c:idx val="3"/>
            <c:bubble3D val="0"/>
            <c:spPr>
              <a:solidFill>
                <a:srgbClr val="9DB1C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2983-4305-A38F-FE019B2624A2}"/>
              </c:ext>
            </c:extLst>
          </c:dPt>
          <c:dPt>
            <c:idx val="4"/>
            <c:bubble3D val="0"/>
            <c:spPr>
              <a:solidFill>
                <a:srgbClr val="C3CFE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2983-4305-A38F-FE019B2624A2}"/>
              </c:ext>
            </c:extLst>
          </c:dPt>
          <c:dLbls>
            <c:dLbl>
              <c:idx val="0"/>
              <c:layout>
                <c:manualLayout>
                  <c:x val="1.6188373804267846E-2"/>
                  <c:y val="-7.7896786757546254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983-4305-A38F-FE019B2624A2}"/>
                </c:ext>
              </c:extLst>
            </c:dLbl>
            <c:dLbl>
              <c:idx val="1"/>
              <c:layout>
                <c:manualLayout>
                  <c:x val="2.9433406916850625E-3"/>
                  <c:y val="5.842259006815969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2983-4305-A38F-FE019B2624A2}"/>
                </c:ext>
              </c:extLst>
            </c:dLbl>
            <c:dLbl>
              <c:idx val="2"/>
              <c:layout>
                <c:manualLayout>
                  <c:x val="-1.3980868285504048E-2"/>
                  <c:y val="1.1684518013631937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2983-4305-A38F-FE019B2624A2}"/>
                </c:ext>
              </c:extLst>
            </c:dLbl>
            <c:dLbl>
              <c:idx val="3"/>
              <c:layout>
                <c:manualLayout>
                  <c:x val="-1.5452538631346579E-2"/>
                  <c:y val="-9.7370983446932822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2983-4305-A38F-FE019B2624A2}"/>
                </c:ext>
              </c:extLst>
            </c:dLbl>
            <c:dLbl>
              <c:idx val="4"/>
              <c:layout>
                <c:manualLayout>
                  <c:x val="-1.177336276674025E-2"/>
                  <c:y val="-4.0895813047711782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2983-4305-A38F-FE019B2624A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5</c:f>
              <c:numCache>
                <c:formatCode>General</c:formatCode>
                <c:ptCount val="5"/>
                <c:pt idx="0">
                  <c:v>41.329479768786129</c:v>
                </c:pt>
                <c:pt idx="1">
                  <c:v>15.317919075144509</c:v>
                </c:pt>
                <c:pt idx="2">
                  <c:v>17.052023121387283</c:v>
                </c:pt>
                <c:pt idx="3">
                  <c:v>14.16184971098266</c:v>
                </c:pt>
                <c:pt idx="4">
                  <c:v>12.1387283236994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2983-4305-A38F-FE019B2624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5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2219321148825062E-2"/>
          <c:y val="1.8335684062059238E-2"/>
          <c:w val="0.79547432550043518"/>
          <c:h val="0.96332863187588147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B51B4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A6A0-42F7-A94B-D2F202481F1D}"/>
              </c:ext>
            </c:extLst>
          </c:dPt>
          <c:dLbls>
            <c:dLbl>
              <c:idx val="0"/>
              <c:layout>
                <c:manualLayout>
                  <c:x val="0.25761531766753698"/>
                  <c:y val="1.057827926657263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6A0-42F7-A94B-D2F202481F1D}"/>
                </c:ext>
              </c:extLst>
            </c:dLbl>
            <c:dLbl>
              <c:idx val="1"/>
              <c:layout>
                <c:manualLayout>
                  <c:x val="0.41166231505657092"/>
                  <c:y val="1.057827926657263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6A0-42F7-A94B-D2F202481F1D}"/>
                </c:ext>
              </c:extLst>
            </c:dLbl>
            <c:dLbl>
              <c:idx val="2"/>
              <c:layout>
                <c:manualLayout>
                  <c:x val="0.42384682332463014"/>
                  <c:y val="1.057827926657263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A6A0-42F7-A94B-D2F202481F1D}"/>
                </c:ext>
              </c:extLst>
            </c:dLbl>
            <c:dLbl>
              <c:idx val="3"/>
              <c:layout>
                <c:manualLayout>
                  <c:x val="0.47519582245430808"/>
                  <c:y val="1.057827926657263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6A0-42F7-A94B-D2F202481F1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14</c:v>
                </c:pt>
                <c:pt idx="1">
                  <c:v>26</c:v>
                </c:pt>
                <c:pt idx="2">
                  <c:v>27</c:v>
                </c:pt>
                <c:pt idx="3">
                  <c:v>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6A0-42F7-A94B-D2F202481F1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overlap val="100"/>
        <c:axId val="18490496"/>
        <c:axId val="1"/>
      </c:barChart>
      <c:catAx>
        <c:axId val="18490496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1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849049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2219321148825062E-2"/>
          <c:y val="1.8335684062059238E-2"/>
          <c:w val="0.79547432550043518"/>
          <c:h val="0.96332863187588147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B51B4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23BD-4BA7-A492-711C53FCC3D1}"/>
              </c:ext>
            </c:extLst>
          </c:dPt>
          <c:dLbls>
            <c:dLbl>
              <c:idx val="0"/>
              <c:layout>
                <c:manualLayout>
                  <c:x val="0.35596170583115755"/>
                  <c:y val="1.057827926657263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3BD-4BA7-A492-711C53FCC3D1}"/>
                </c:ext>
              </c:extLst>
            </c:dLbl>
            <c:dLbl>
              <c:idx val="1"/>
              <c:layout>
                <c:manualLayout>
                  <c:x val="0.46475195822454307"/>
                  <c:y val="1.057827926657263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23BD-4BA7-A492-711C53FCC3D1}"/>
                </c:ext>
              </c:extLst>
            </c:dLbl>
            <c:dLbl>
              <c:idx val="2"/>
              <c:layout>
                <c:manualLayout>
                  <c:x val="0.46475195822454307"/>
                  <c:y val="1.057827926657263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23BD-4BA7-A492-711C53FCC3D1}"/>
                </c:ext>
              </c:extLst>
            </c:dLbl>
            <c:dLbl>
              <c:idx val="3"/>
              <c:layout>
                <c:manualLayout>
                  <c:x val="0.47519582245430808"/>
                  <c:y val="1.057827926657263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23BD-4BA7-A492-711C53FCC3D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56</c:v>
                </c:pt>
                <c:pt idx="1">
                  <c:v>78</c:v>
                </c:pt>
                <c:pt idx="2">
                  <c:v>78</c:v>
                </c:pt>
                <c:pt idx="3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3BD-4BA7-A492-711C53FCC3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overlap val="100"/>
        <c:axId val="1269603263"/>
        <c:axId val="1"/>
      </c:barChart>
      <c:catAx>
        <c:axId val="1269603263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26960326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2219321148825062E-2"/>
          <c:y val="1.8335684062059238E-2"/>
          <c:w val="0.79547432550043518"/>
          <c:h val="0.96332863187588147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B51B4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81A6-4AF7-A781-8A4CA8DDAD69}"/>
              </c:ext>
            </c:extLst>
          </c:dPt>
          <c:dLbls>
            <c:dLbl>
              <c:idx val="0"/>
              <c:layout>
                <c:manualLayout>
                  <c:x val="0.22454308093994779"/>
                  <c:y val="1.057827926657263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1A6-4AF7-A781-8A4CA8DDAD69}"/>
                </c:ext>
              </c:extLst>
            </c:dLbl>
            <c:dLbl>
              <c:idx val="1"/>
              <c:layout>
                <c:manualLayout>
                  <c:x val="0.44125326370757179"/>
                  <c:y val="1.057827926657263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1A6-4AF7-A781-8A4CA8DDAD69}"/>
                </c:ext>
              </c:extLst>
            </c:dLbl>
            <c:dLbl>
              <c:idx val="2"/>
              <c:layout>
                <c:manualLayout>
                  <c:x val="0.42384682332463014"/>
                  <c:y val="1.057827926657263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81A6-4AF7-A781-8A4CA8DDAD69}"/>
                </c:ext>
              </c:extLst>
            </c:dLbl>
            <c:dLbl>
              <c:idx val="3"/>
              <c:layout>
                <c:manualLayout>
                  <c:x val="0.47519582245430808"/>
                  <c:y val="1.057827926657263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81A6-4AF7-A781-8A4CA8DDAD6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34</c:v>
                </c:pt>
                <c:pt idx="1">
                  <c:v>84</c:v>
                </c:pt>
                <c:pt idx="2">
                  <c:v>80</c:v>
                </c:pt>
                <c:pt idx="3">
                  <c:v>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1A6-4AF7-A781-8A4CA8DDAD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overlap val="100"/>
        <c:axId val="439567919"/>
        <c:axId val="1"/>
      </c:barChart>
      <c:catAx>
        <c:axId val="439567919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2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43956791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8636363636363638E-2"/>
          <c:y val="1.8335684062059238E-2"/>
          <c:w val="0.69242424242424239"/>
          <c:h val="0.96332863187588147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B51B4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0FFB-45B9-B101-9A5AF2CAB5F9}"/>
              </c:ext>
            </c:extLst>
          </c:dPt>
          <c:dLbls>
            <c:dLbl>
              <c:idx val="0"/>
              <c:layout>
                <c:manualLayout>
                  <c:x val="0.2196969696969697"/>
                  <c:y val="1.057827926657263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FFB-45B9-B101-9A5AF2CAB5F9}"/>
                </c:ext>
              </c:extLst>
            </c:dLbl>
            <c:dLbl>
              <c:idx val="1"/>
              <c:layout>
                <c:manualLayout>
                  <c:x val="0.33106060606060606"/>
                  <c:y val="1.057827926657263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FFB-45B9-B101-9A5AF2CAB5F9}"/>
                </c:ext>
              </c:extLst>
            </c:dLbl>
            <c:dLbl>
              <c:idx val="2"/>
              <c:layout>
                <c:manualLayout>
                  <c:x val="0.33106060606060606"/>
                  <c:y val="1.057827926657263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0FFB-45B9-B101-9A5AF2CAB5F9}"/>
                </c:ext>
              </c:extLst>
            </c:dLbl>
            <c:dLbl>
              <c:idx val="3"/>
              <c:layout>
                <c:manualLayout>
                  <c:x val="0.43484848484848487"/>
                  <c:y val="1.057827926657263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0FFB-45B9-B101-9A5AF2CAB5F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44</c:v>
                </c:pt>
                <c:pt idx="1">
                  <c:v>76</c:v>
                </c:pt>
                <c:pt idx="2">
                  <c:v>76</c:v>
                </c:pt>
                <c:pt idx="3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FFB-45B9-B101-9A5AF2CAB5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overlap val="100"/>
        <c:axId val="439556271"/>
        <c:axId val="1"/>
      </c:barChart>
      <c:catAx>
        <c:axId val="439556271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43955627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029593094944512E-2"/>
          <c:y val="0.11134903640256959"/>
          <c:w val="0.96794081381011099"/>
          <c:h val="0.777301927194860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B51B4F"/>
            </a:solidFill>
            <a:ln>
              <a:noFill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123387909</c:v>
                </c:pt>
                <c:pt idx="1">
                  <c:v>166875467</c:v>
                </c:pt>
                <c:pt idx="2">
                  <c:v>313628871</c:v>
                </c:pt>
                <c:pt idx="3">
                  <c:v>2320004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83-4424-BF28-31058D4F8A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37583231"/>
        <c:axId val="1"/>
      </c:barChart>
      <c:catAx>
        <c:axId val="13758323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1362887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3758323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029593094944512E-2"/>
          <c:y val="0.12264150943396226"/>
          <c:w val="0.96794081381011099"/>
          <c:h val="0.7547169811320755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2367287</c:v>
                </c:pt>
                <c:pt idx="1">
                  <c:v>2749379</c:v>
                </c:pt>
                <c:pt idx="2">
                  <c:v>4966117</c:v>
                </c:pt>
                <c:pt idx="3">
                  <c:v>4667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FD6-4980-A2F0-1B76EFBDF6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983824847"/>
        <c:axId val="1"/>
      </c:barChart>
      <c:catAx>
        <c:axId val="198382484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96611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98382484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029593094944512E-2"/>
          <c:y val="0.11818181818181818"/>
          <c:w val="0.96794081381011099"/>
          <c:h val="0.7636363636363636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0C0C0"/>
            </a:solidFill>
            <a:ln>
              <a:noFill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4610312</c:v>
                </c:pt>
                <c:pt idx="1">
                  <c:v>7652955</c:v>
                </c:pt>
                <c:pt idx="2">
                  <c:v>12445137</c:v>
                </c:pt>
                <c:pt idx="3">
                  <c:v>115773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9D5-4AC1-82F0-C2310EBCB8F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40466223"/>
        <c:axId val="1"/>
      </c:barChart>
      <c:catAx>
        <c:axId val="24046622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244513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4046622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5132105684547639"/>
          <c:y val="5.3333333333333337E-2"/>
          <c:w val="0.69735788630904727"/>
          <c:h val="0.89333333333333331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B51B4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7AFD-4D50-AF0B-0EAD05286648}"/>
              </c:ext>
            </c:extLst>
          </c:dPt>
          <c:dPt>
            <c:idx val="1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7AFD-4D50-AF0B-0EAD05286648}"/>
              </c:ext>
            </c:extLst>
          </c:dPt>
          <c:dPt>
            <c:idx val="2"/>
            <c:bubble3D val="0"/>
            <c:spPr>
              <a:solidFill>
                <a:srgbClr val="C0C0C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7AFD-4D50-AF0B-0EAD05286648}"/>
              </c:ext>
            </c:extLst>
          </c:dPt>
          <c:dLbls>
            <c:dLbl>
              <c:idx val="0"/>
              <c:layout>
                <c:manualLayout>
                  <c:x val="4.8038430744595677E-2"/>
                  <c:y val="0.1323076923076923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rgbClr val="FFFFFF"/>
                      </a:solidFill>
                      <a:latin typeface="ITC Avant Garde Pro Bk"/>
                      <a:ea typeface="ITC Avant Garde Pro Bk"/>
                      <a:cs typeface="ITC Avant Garde Pro Bk"/>
                      <a:sym typeface="ITC Avant Garde Pro Bk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7AFD-4D50-AF0B-0EAD05286648}"/>
                </c:ext>
              </c:extLst>
            </c:dLbl>
            <c:dLbl>
              <c:idx val="2"/>
              <c:layout>
                <c:manualLayout>
                  <c:x val="-3.5228182546036831E-2"/>
                  <c:y val="-0.1569230769230769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rgbClr val="000000"/>
                      </a:solidFill>
                      <a:latin typeface="ITC Avant Garde Pro Bk"/>
                      <a:ea typeface="ITC Avant Garde Pro Bk"/>
                      <a:cs typeface="ITC Avant Garde Pro Bk"/>
                      <a:sym typeface="ITC Avant Garde Pro Bk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7AFD-4D50-AF0B-0EAD0528664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General</c:formatCode>
                <c:ptCount val="3"/>
                <c:pt idx="0">
                  <c:v>86.434686211724951</c:v>
                </c:pt>
                <c:pt idx="1">
                  <c:v>4.6762811529791195</c:v>
                </c:pt>
                <c:pt idx="2">
                  <c:v>8.8890326352959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AFD-4D50-AF0B-0EAD052866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8E0929-642C-446A-A5FC-67543EFACEB6}" type="datetimeFigureOut">
              <a:rPr lang="en-US" smtClean="0"/>
              <a:t>4/27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501874C-696E-4C0E-9C98-74998BB0752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13321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277FC7-5167-4B6F-8A06-8E5495C5863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E007220-7BBB-4F72-A310-7CF7350D28E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568E7DD-DC9C-498F-8B3B-E6BEB9953C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FE4BB-429D-4152-AF23-C69B442A0FC7}" type="datetime1">
              <a:rPr lang="en-US" smtClean="0"/>
              <a:t>4/2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F07C12-095A-4242-8B8A-AB1E90E6A1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85E6DA-5A7E-4EE8-AC18-D5332031DA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6D2641-81B4-4FA9-AABA-CD0BE301EB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94036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63FDBA-F0BA-43D4-BAEE-1BB24351CA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C7593D0-F095-4E4F-B99D-2FA700C0DFD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773F774-89A8-43BD-93AB-EF3AA50BCB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6874DE-40AE-46F3-8EDA-29A26713108B}" type="datetime1">
              <a:rPr lang="en-US" smtClean="0"/>
              <a:t>4/2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2E1EF0-F145-49A0-86D2-78D53F8956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90231B-6177-4998-B531-8BD015319A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6D2641-81B4-4FA9-AABA-CD0BE301EB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52985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265BF56-BDE6-4C64-AF8F-1BC68B01B60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07869C6-D3D9-44CE-95B5-B2CBA12027E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EE8903B-DF16-4FF7-A209-A93059C28A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62F84B-5655-44E7-8B5B-05DE9ED2B9B0}" type="datetime1">
              <a:rPr lang="en-US" smtClean="0"/>
              <a:t>4/2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E2FF6E-A076-4B5F-9906-E237AF13A2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7815B2-C421-428D-BBF4-0952D076D2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6D2641-81B4-4FA9-AABA-CD0BE301EB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5768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965FB2-7693-4E81-9E8E-5E0B73B08C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6B5357-BCFE-4695-A0E9-E99AB582ED8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7DDB7F7-7E77-4570-974F-EF0D8D6329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C63032-6ED0-4AB6-9E67-49963FDC9F11}" type="datetime1">
              <a:rPr lang="en-US" smtClean="0"/>
              <a:t>4/2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1B6582-F8E3-4513-82D9-153DFE445F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B445DE-C2DD-4E01-AAEC-7BF37A6D9E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6D2641-81B4-4FA9-AABA-CD0BE301EB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11715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74918E-1035-4ADB-AC2E-23C2D7EC53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47E83F-0063-4DEC-9DA5-699E307BCE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C65B68-0697-42C1-A292-28B525A8EA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D1D9FF-C469-49CD-BDA9-19F54ACA1525}" type="datetime1">
              <a:rPr lang="en-US" smtClean="0"/>
              <a:t>4/2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6911C8-920E-4E0C-A0F0-4E239826CB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C9E4DC-BBCC-4E0A-914F-EE8210B02D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6D2641-81B4-4FA9-AABA-CD0BE301EB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77027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B9773D-F1F0-4292-A8DE-8F34BBBEFE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0F0C96-29EC-4D75-ACED-A2A22F44416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0D69283-4C1F-43A1-B74D-066F94B36B6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0403C9A-16BB-47F9-93FC-44A4660C83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592501-BCA8-4872-A9F5-C6CF60A4FA77}" type="datetime1">
              <a:rPr lang="en-US" smtClean="0"/>
              <a:t>4/27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E080960-6D36-4FEB-8D43-5DB579E092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16F4360-2312-4612-B470-F025CDB3D3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6D2641-81B4-4FA9-AABA-CD0BE301EB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39523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1AAEC6-52CC-4E20-AF15-625C4B928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A705DA4-DE32-40D8-BDB9-07371BB1BC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B395764-4E3E-438A-8BC9-9B176F66BE4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CBFCB57-7600-4C0A-BAF8-ACC64F8B8F1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DEA869E-8D8D-467A-94C6-D29D45A145F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833C4A8-0F93-4EBD-9C57-6346EF9B31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FF5BD7-05EB-4547-95AA-A9D36BBC93B4}" type="datetime1">
              <a:rPr lang="en-US" smtClean="0"/>
              <a:t>4/27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C177D20-3845-4A89-B9E4-E940146A52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3A3E54A-9B9A-499A-A780-719B1EDC28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6D2641-81B4-4FA9-AABA-CD0BE301EB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16259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67F4F8-829A-4EC8-9603-49183E327C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49A8896-CFBA-4C2F-917F-C021B82959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706177-4E19-4479-9E29-488C48C37060}" type="datetime1">
              <a:rPr lang="en-US" smtClean="0"/>
              <a:t>4/27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33BD8E-E3B8-42DC-BFD8-0F9B7A5EA3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A2B5984-7514-4E19-BDEF-8E8D265FCB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6D2641-81B4-4FA9-AABA-CD0BE301EB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3637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43FCD9F-1698-46AB-8D84-0D2CB85E17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34C033-F447-4731-B39C-66A97000B8EC}" type="datetime1">
              <a:rPr lang="en-US" smtClean="0"/>
              <a:t>4/27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2A9AF7-627C-44C3-8BF8-659E8B6DB1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E5A8F0-27F9-4B9B-8DE3-A574641C70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6D2641-81B4-4FA9-AABA-CD0BE301EB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53589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C970C9-D798-4533-85B6-2FC0198298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FD7EC8-E6FE-49C2-B4A3-0EC30F07AD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FFADB2B-AD17-4CDB-B9F0-7BD1F0E20F4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1CABB64-7DF8-4884-80D4-08A6A3DB76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DA673F-55BB-497E-938A-C758DA9E8686}" type="datetime1">
              <a:rPr lang="en-US" smtClean="0"/>
              <a:t>4/27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C6BB810-9273-4E40-9305-0938340462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E68052C-C89C-4B26-A71E-CB225DC132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6D2641-81B4-4FA9-AABA-CD0BE301EB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85572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D01A74-5C57-45B6-98AF-F9F158602C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2BC30A9-C386-4C48-A590-6B49DEAC749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2C081FE-CA30-4D2A-934C-F9E4AC2C100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5B92184-9CAD-4C7B-8594-F8882C095A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0FE149-D956-4A6D-BD19-175206904BD3}" type="datetime1">
              <a:rPr lang="en-US" smtClean="0"/>
              <a:t>4/27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2CCB2B4-78CC-42DE-8644-F5E2A60B50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EB2016F-EA04-4058-B21D-C828DDE487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6D2641-81B4-4FA9-AABA-CD0BE301EB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94231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E1B6871-80A7-4D3F-86D8-EAB8857FB7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367134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78" imgH="377" progId="TCLayout.ActiveDocument.1">
                  <p:embed/>
                </p:oleObj>
              </mc:Choice>
              <mc:Fallback>
                <p:oleObj name="think-cell Slide" r:id="rId14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E28D92D-EDF1-45C5-A734-A42775735D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8B3BB16-F185-424D-9038-724B28DA07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FB8DDB-96B3-498E-8E10-928CD46C092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2FA274-0D5B-4E93-B840-1AA6190E506C}" type="datetime1">
              <a:rPr lang="en-US" smtClean="0"/>
              <a:t>4/2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3C8A77F-9C94-42B1-A9CC-003B25E7AD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6C681AE-27A2-41B8-A225-03D8852662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6D2641-81B4-4FA9-AABA-CD0BE301EB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86811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microsoft.com/office/2007/relationships/hdphoto" Target="../media/hdphoto1.wdp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svg"/><Relationship Id="rId3" Type="http://schemas.openxmlformats.org/officeDocument/2006/relationships/oleObject" Target="../embeddings/oleObject18.bin"/><Relationship Id="rId7" Type="http://schemas.openxmlformats.org/officeDocument/2006/relationships/image" Target="../media/image3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10" Type="http://schemas.openxmlformats.org/officeDocument/2006/relationships/image" Target="../media/image36.svg"/><Relationship Id="rId4" Type="http://schemas.openxmlformats.org/officeDocument/2006/relationships/image" Target="../media/image1.emf"/><Relationship Id="rId9" Type="http://schemas.openxmlformats.org/officeDocument/2006/relationships/image" Target="../media/image3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3.jpg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oleObject" Target="../embeddings/oleObject21.bin"/><Relationship Id="rId7" Type="http://schemas.openxmlformats.org/officeDocument/2006/relationships/image" Target="../media/image38.png"/><Relationship Id="rId12" Type="http://schemas.openxmlformats.org/officeDocument/2006/relationships/image" Target="../media/image41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Relationship Id="rId6" Type="http://schemas.microsoft.com/office/2007/relationships/hdphoto" Target="../media/hdphoto2.wdp"/><Relationship Id="rId11" Type="http://schemas.openxmlformats.org/officeDocument/2006/relationships/image" Target="../media/image40.png"/><Relationship Id="rId5" Type="http://schemas.openxmlformats.org/officeDocument/2006/relationships/image" Target="../media/image37.png"/><Relationship Id="rId10" Type="http://schemas.microsoft.com/office/2007/relationships/hdphoto" Target="../media/hdphoto4.wdp"/><Relationship Id="rId4" Type="http://schemas.openxmlformats.org/officeDocument/2006/relationships/image" Target="../media/image1.emf"/><Relationship Id="rId9" Type="http://schemas.openxmlformats.org/officeDocument/2006/relationships/image" Target="../media/image3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12" Type="http://schemas.openxmlformats.org/officeDocument/2006/relationships/tags" Target="../tags/tag37.xml"/><Relationship Id="rId17" Type="http://schemas.openxmlformats.org/officeDocument/2006/relationships/chart" Target="../charts/chart2.xml"/><Relationship Id="rId2" Type="http://schemas.openxmlformats.org/officeDocument/2006/relationships/tags" Target="../tags/tag27.xml"/><Relationship Id="rId16" Type="http://schemas.openxmlformats.org/officeDocument/2006/relationships/chart" Target="../charts/chart1.xml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11" Type="http://schemas.openxmlformats.org/officeDocument/2006/relationships/tags" Target="../tags/tag36.xml"/><Relationship Id="rId5" Type="http://schemas.openxmlformats.org/officeDocument/2006/relationships/tags" Target="../tags/tag30.xml"/><Relationship Id="rId15" Type="http://schemas.openxmlformats.org/officeDocument/2006/relationships/image" Target="../media/image1.emf"/><Relationship Id="rId10" Type="http://schemas.openxmlformats.org/officeDocument/2006/relationships/tags" Target="../tags/tag35.xml"/><Relationship Id="rId4" Type="http://schemas.openxmlformats.org/officeDocument/2006/relationships/tags" Target="../tags/tag29.xml"/><Relationship Id="rId9" Type="http://schemas.openxmlformats.org/officeDocument/2006/relationships/tags" Target="../tags/tag34.xml"/><Relationship Id="rId14" Type="http://schemas.openxmlformats.org/officeDocument/2006/relationships/oleObject" Target="../embeddings/oleObject25.bin"/></Relationships>
</file>

<file path=ppt/slides/_rels/slide25.xml.rels><?xml version="1.0" encoding="UTF-8" standalone="yes"?>
<Relationships xmlns="http://schemas.openxmlformats.org/package/2006/relationships"><Relationship Id="rId26" Type="http://schemas.openxmlformats.org/officeDocument/2006/relationships/tags" Target="../tags/tag63.xml"/><Relationship Id="rId21" Type="http://schemas.openxmlformats.org/officeDocument/2006/relationships/tags" Target="../tags/tag58.xml"/><Relationship Id="rId42" Type="http://schemas.openxmlformats.org/officeDocument/2006/relationships/tags" Target="../tags/tag79.xml"/><Relationship Id="rId47" Type="http://schemas.openxmlformats.org/officeDocument/2006/relationships/tags" Target="../tags/tag84.xml"/><Relationship Id="rId63" Type="http://schemas.openxmlformats.org/officeDocument/2006/relationships/tags" Target="../tags/tag100.xml"/><Relationship Id="rId68" Type="http://schemas.openxmlformats.org/officeDocument/2006/relationships/tags" Target="../tags/tag105.xml"/><Relationship Id="rId84" Type="http://schemas.openxmlformats.org/officeDocument/2006/relationships/tags" Target="../tags/tag121.xml"/><Relationship Id="rId89" Type="http://schemas.openxmlformats.org/officeDocument/2006/relationships/tags" Target="../tags/tag126.xml"/><Relationship Id="rId16" Type="http://schemas.openxmlformats.org/officeDocument/2006/relationships/tags" Target="../tags/tag53.xml"/><Relationship Id="rId11" Type="http://schemas.openxmlformats.org/officeDocument/2006/relationships/tags" Target="../tags/tag48.xml"/><Relationship Id="rId32" Type="http://schemas.openxmlformats.org/officeDocument/2006/relationships/tags" Target="../tags/tag69.xml"/><Relationship Id="rId37" Type="http://schemas.openxmlformats.org/officeDocument/2006/relationships/tags" Target="../tags/tag74.xml"/><Relationship Id="rId53" Type="http://schemas.openxmlformats.org/officeDocument/2006/relationships/tags" Target="../tags/tag90.xml"/><Relationship Id="rId58" Type="http://schemas.openxmlformats.org/officeDocument/2006/relationships/tags" Target="../tags/tag95.xml"/><Relationship Id="rId74" Type="http://schemas.openxmlformats.org/officeDocument/2006/relationships/tags" Target="../tags/tag111.xml"/><Relationship Id="rId79" Type="http://schemas.openxmlformats.org/officeDocument/2006/relationships/tags" Target="../tags/tag116.xml"/><Relationship Id="rId5" Type="http://schemas.openxmlformats.org/officeDocument/2006/relationships/tags" Target="../tags/tag42.xml"/><Relationship Id="rId90" Type="http://schemas.openxmlformats.org/officeDocument/2006/relationships/tags" Target="../tags/tag127.xml"/><Relationship Id="rId95" Type="http://schemas.openxmlformats.org/officeDocument/2006/relationships/chart" Target="../charts/chart4.xml"/><Relationship Id="rId22" Type="http://schemas.openxmlformats.org/officeDocument/2006/relationships/tags" Target="../tags/tag59.xml"/><Relationship Id="rId27" Type="http://schemas.openxmlformats.org/officeDocument/2006/relationships/tags" Target="../tags/tag64.xml"/><Relationship Id="rId43" Type="http://schemas.openxmlformats.org/officeDocument/2006/relationships/tags" Target="../tags/tag80.xml"/><Relationship Id="rId48" Type="http://schemas.openxmlformats.org/officeDocument/2006/relationships/tags" Target="../tags/tag85.xml"/><Relationship Id="rId64" Type="http://schemas.openxmlformats.org/officeDocument/2006/relationships/tags" Target="../tags/tag101.xml"/><Relationship Id="rId69" Type="http://schemas.openxmlformats.org/officeDocument/2006/relationships/tags" Target="../tags/tag106.xml"/><Relationship Id="rId80" Type="http://schemas.openxmlformats.org/officeDocument/2006/relationships/tags" Target="../tags/tag117.xml"/><Relationship Id="rId85" Type="http://schemas.openxmlformats.org/officeDocument/2006/relationships/tags" Target="../tags/tag122.xml"/><Relationship Id="rId12" Type="http://schemas.openxmlformats.org/officeDocument/2006/relationships/tags" Target="../tags/tag49.xml"/><Relationship Id="rId17" Type="http://schemas.openxmlformats.org/officeDocument/2006/relationships/tags" Target="../tags/tag54.xml"/><Relationship Id="rId25" Type="http://schemas.openxmlformats.org/officeDocument/2006/relationships/tags" Target="../tags/tag62.xml"/><Relationship Id="rId33" Type="http://schemas.openxmlformats.org/officeDocument/2006/relationships/tags" Target="../tags/tag70.xml"/><Relationship Id="rId38" Type="http://schemas.openxmlformats.org/officeDocument/2006/relationships/tags" Target="../tags/tag75.xml"/><Relationship Id="rId46" Type="http://schemas.openxmlformats.org/officeDocument/2006/relationships/tags" Target="../tags/tag83.xml"/><Relationship Id="rId59" Type="http://schemas.openxmlformats.org/officeDocument/2006/relationships/tags" Target="../tags/tag96.xml"/><Relationship Id="rId67" Type="http://schemas.openxmlformats.org/officeDocument/2006/relationships/tags" Target="../tags/tag104.xml"/><Relationship Id="rId20" Type="http://schemas.openxmlformats.org/officeDocument/2006/relationships/tags" Target="../tags/tag57.xml"/><Relationship Id="rId41" Type="http://schemas.openxmlformats.org/officeDocument/2006/relationships/tags" Target="../tags/tag78.xml"/><Relationship Id="rId54" Type="http://schemas.openxmlformats.org/officeDocument/2006/relationships/tags" Target="../tags/tag91.xml"/><Relationship Id="rId62" Type="http://schemas.openxmlformats.org/officeDocument/2006/relationships/tags" Target="../tags/tag99.xml"/><Relationship Id="rId70" Type="http://schemas.openxmlformats.org/officeDocument/2006/relationships/tags" Target="../tags/tag107.xml"/><Relationship Id="rId75" Type="http://schemas.openxmlformats.org/officeDocument/2006/relationships/tags" Target="../tags/tag112.xml"/><Relationship Id="rId83" Type="http://schemas.openxmlformats.org/officeDocument/2006/relationships/tags" Target="../tags/tag120.xml"/><Relationship Id="rId88" Type="http://schemas.openxmlformats.org/officeDocument/2006/relationships/tags" Target="../tags/tag125.xml"/><Relationship Id="rId91" Type="http://schemas.openxmlformats.org/officeDocument/2006/relationships/slideLayout" Target="../slideLayouts/slideLayout2.xml"/><Relationship Id="rId96" Type="http://schemas.openxmlformats.org/officeDocument/2006/relationships/chart" Target="../charts/chart5.xml"/><Relationship Id="rId1" Type="http://schemas.openxmlformats.org/officeDocument/2006/relationships/tags" Target="../tags/tag38.xml"/><Relationship Id="rId6" Type="http://schemas.openxmlformats.org/officeDocument/2006/relationships/tags" Target="../tags/tag43.xml"/><Relationship Id="rId15" Type="http://schemas.openxmlformats.org/officeDocument/2006/relationships/tags" Target="../tags/tag52.xml"/><Relationship Id="rId23" Type="http://schemas.openxmlformats.org/officeDocument/2006/relationships/tags" Target="../tags/tag60.xml"/><Relationship Id="rId28" Type="http://schemas.openxmlformats.org/officeDocument/2006/relationships/tags" Target="../tags/tag65.xml"/><Relationship Id="rId36" Type="http://schemas.openxmlformats.org/officeDocument/2006/relationships/tags" Target="../tags/tag73.xml"/><Relationship Id="rId49" Type="http://schemas.openxmlformats.org/officeDocument/2006/relationships/tags" Target="../tags/tag86.xml"/><Relationship Id="rId57" Type="http://schemas.openxmlformats.org/officeDocument/2006/relationships/tags" Target="../tags/tag94.xml"/><Relationship Id="rId10" Type="http://schemas.openxmlformats.org/officeDocument/2006/relationships/tags" Target="../tags/tag47.xml"/><Relationship Id="rId31" Type="http://schemas.openxmlformats.org/officeDocument/2006/relationships/tags" Target="../tags/tag68.xml"/><Relationship Id="rId44" Type="http://schemas.openxmlformats.org/officeDocument/2006/relationships/tags" Target="../tags/tag81.xml"/><Relationship Id="rId52" Type="http://schemas.openxmlformats.org/officeDocument/2006/relationships/tags" Target="../tags/tag89.xml"/><Relationship Id="rId60" Type="http://schemas.openxmlformats.org/officeDocument/2006/relationships/tags" Target="../tags/tag97.xml"/><Relationship Id="rId65" Type="http://schemas.openxmlformats.org/officeDocument/2006/relationships/tags" Target="../tags/tag102.xml"/><Relationship Id="rId73" Type="http://schemas.openxmlformats.org/officeDocument/2006/relationships/tags" Target="../tags/tag110.xml"/><Relationship Id="rId78" Type="http://schemas.openxmlformats.org/officeDocument/2006/relationships/tags" Target="../tags/tag115.xml"/><Relationship Id="rId81" Type="http://schemas.openxmlformats.org/officeDocument/2006/relationships/tags" Target="../tags/tag118.xml"/><Relationship Id="rId86" Type="http://schemas.openxmlformats.org/officeDocument/2006/relationships/tags" Target="../tags/tag123.xml"/><Relationship Id="rId94" Type="http://schemas.openxmlformats.org/officeDocument/2006/relationships/chart" Target="../charts/chart3.xml"/><Relationship Id="rId99" Type="http://schemas.openxmlformats.org/officeDocument/2006/relationships/chart" Target="../charts/chart8.xml"/><Relationship Id="rId101" Type="http://schemas.openxmlformats.org/officeDocument/2006/relationships/chart" Target="../charts/chart10.xml"/><Relationship Id="rId4" Type="http://schemas.openxmlformats.org/officeDocument/2006/relationships/tags" Target="../tags/tag41.xml"/><Relationship Id="rId9" Type="http://schemas.openxmlformats.org/officeDocument/2006/relationships/tags" Target="../tags/tag46.xml"/><Relationship Id="rId13" Type="http://schemas.openxmlformats.org/officeDocument/2006/relationships/tags" Target="../tags/tag50.xml"/><Relationship Id="rId18" Type="http://schemas.openxmlformats.org/officeDocument/2006/relationships/tags" Target="../tags/tag55.xml"/><Relationship Id="rId39" Type="http://schemas.openxmlformats.org/officeDocument/2006/relationships/tags" Target="../tags/tag76.xml"/><Relationship Id="rId34" Type="http://schemas.openxmlformats.org/officeDocument/2006/relationships/tags" Target="../tags/tag71.xml"/><Relationship Id="rId50" Type="http://schemas.openxmlformats.org/officeDocument/2006/relationships/tags" Target="../tags/tag87.xml"/><Relationship Id="rId55" Type="http://schemas.openxmlformats.org/officeDocument/2006/relationships/tags" Target="../tags/tag92.xml"/><Relationship Id="rId76" Type="http://schemas.openxmlformats.org/officeDocument/2006/relationships/tags" Target="../tags/tag113.xml"/><Relationship Id="rId97" Type="http://schemas.openxmlformats.org/officeDocument/2006/relationships/chart" Target="../charts/chart6.xml"/><Relationship Id="rId7" Type="http://schemas.openxmlformats.org/officeDocument/2006/relationships/tags" Target="../tags/tag44.xml"/><Relationship Id="rId71" Type="http://schemas.openxmlformats.org/officeDocument/2006/relationships/tags" Target="../tags/tag108.xml"/><Relationship Id="rId92" Type="http://schemas.openxmlformats.org/officeDocument/2006/relationships/oleObject" Target="../embeddings/oleObject26.bin"/><Relationship Id="rId2" Type="http://schemas.openxmlformats.org/officeDocument/2006/relationships/tags" Target="../tags/tag39.xml"/><Relationship Id="rId29" Type="http://schemas.openxmlformats.org/officeDocument/2006/relationships/tags" Target="../tags/tag66.xml"/><Relationship Id="rId24" Type="http://schemas.openxmlformats.org/officeDocument/2006/relationships/tags" Target="../tags/tag61.xml"/><Relationship Id="rId40" Type="http://schemas.openxmlformats.org/officeDocument/2006/relationships/tags" Target="../tags/tag77.xml"/><Relationship Id="rId45" Type="http://schemas.openxmlformats.org/officeDocument/2006/relationships/tags" Target="../tags/tag82.xml"/><Relationship Id="rId66" Type="http://schemas.openxmlformats.org/officeDocument/2006/relationships/tags" Target="../tags/tag103.xml"/><Relationship Id="rId87" Type="http://schemas.openxmlformats.org/officeDocument/2006/relationships/tags" Target="../tags/tag124.xml"/><Relationship Id="rId61" Type="http://schemas.openxmlformats.org/officeDocument/2006/relationships/tags" Target="../tags/tag98.xml"/><Relationship Id="rId82" Type="http://schemas.openxmlformats.org/officeDocument/2006/relationships/tags" Target="../tags/tag119.xml"/><Relationship Id="rId19" Type="http://schemas.openxmlformats.org/officeDocument/2006/relationships/tags" Target="../tags/tag56.xml"/><Relationship Id="rId14" Type="http://schemas.openxmlformats.org/officeDocument/2006/relationships/tags" Target="../tags/tag51.xml"/><Relationship Id="rId30" Type="http://schemas.openxmlformats.org/officeDocument/2006/relationships/tags" Target="../tags/tag67.xml"/><Relationship Id="rId35" Type="http://schemas.openxmlformats.org/officeDocument/2006/relationships/tags" Target="../tags/tag72.xml"/><Relationship Id="rId56" Type="http://schemas.openxmlformats.org/officeDocument/2006/relationships/tags" Target="../tags/tag93.xml"/><Relationship Id="rId77" Type="http://schemas.openxmlformats.org/officeDocument/2006/relationships/tags" Target="../tags/tag114.xml"/><Relationship Id="rId100" Type="http://schemas.openxmlformats.org/officeDocument/2006/relationships/chart" Target="../charts/chart9.xml"/><Relationship Id="rId8" Type="http://schemas.openxmlformats.org/officeDocument/2006/relationships/tags" Target="../tags/tag45.xml"/><Relationship Id="rId51" Type="http://schemas.openxmlformats.org/officeDocument/2006/relationships/tags" Target="../tags/tag88.xml"/><Relationship Id="rId72" Type="http://schemas.openxmlformats.org/officeDocument/2006/relationships/tags" Target="../tags/tag109.xml"/><Relationship Id="rId93" Type="http://schemas.openxmlformats.org/officeDocument/2006/relationships/image" Target="../media/image1.emf"/><Relationship Id="rId98" Type="http://schemas.openxmlformats.org/officeDocument/2006/relationships/chart" Target="../charts/chart7.xml"/><Relationship Id="rId3" Type="http://schemas.openxmlformats.org/officeDocument/2006/relationships/tags" Target="../tags/tag40.xml"/></Relationships>
</file>

<file path=ppt/slides/_rels/slide26.xml.rels><?xml version="1.0" encoding="UTF-8" standalone="yes"?>
<Relationships xmlns="http://schemas.openxmlformats.org/package/2006/relationships"><Relationship Id="rId117" Type="http://schemas.openxmlformats.org/officeDocument/2006/relationships/tags" Target="../tags/tag244.xml"/><Relationship Id="rId21" Type="http://schemas.openxmlformats.org/officeDocument/2006/relationships/tags" Target="../tags/tag148.xml"/><Relationship Id="rId42" Type="http://schemas.openxmlformats.org/officeDocument/2006/relationships/tags" Target="../tags/tag169.xml"/><Relationship Id="rId63" Type="http://schemas.openxmlformats.org/officeDocument/2006/relationships/tags" Target="../tags/tag190.xml"/><Relationship Id="rId84" Type="http://schemas.openxmlformats.org/officeDocument/2006/relationships/tags" Target="../tags/tag211.xml"/><Relationship Id="rId16" Type="http://schemas.openxmlformats.org/officeDocument/2006/relationships/tags" Target="../tags/tag143.xml"/><Relationship Id="rId107" Type="http://schemas.openxmlformats.org/officeDocument/2006/relationships/tags" Target="../tags/tag234.xml"/><Relationship Id="rId11" Type="http://schemas.openxmlformats.org/officeDocument/2006/relationships/tags" Target="../tags/tag138.xml"/><Relationship Id="rId32" Type="http://schemas.openxmlformats.org/officeDocument/2006/relationships/tags" Target="../tags/tag159.xml"/><Relationship Id="rId37" Type="http://schemas.openxmlformats.org/officeDocument/2006/relationships/tags" Target="../tags/tag164.xml"/><Relationship Id="rId53" Type="http://schemas.openxmlformats.org/officeDocument/2006/relationships/tags" Target="../tags/tag180.xml"/><Relationship Id="rId58" Type="http://schemas.openxmlformats.org/officeDocument/2006/relationships/tags" Target="../tags/tag185.xml"/><Relationship Id="rId74" Type="http://schemas.openxmlformats.org/officeDocument/2006/relationships/tags" Target="../tags/tag201.xml"/><Relationship Id="rId79" Type="http://schemas.openxmlformats.org/officeDocument/2006/relationships/tags" Target="../tags/tag206.xml"/><Relationship Id="rId102" Type="http://schemas.openxmlformats.org/officeDocument/2006/relationships/tags" Target="../tags/tag229.xml"/><Relationship Id="rId123" Type="http://schemas.openxmlformats.org/officeDocument/2006/relationships/tags" Target="../tags/tag250.xml"/><Relationship Id="rId128" Type="http://schemas.openxmlformats.org/officeDocument/2006/relationships/tags" Target="../tags/tag255.xml"/><Relationship Id="rId5" Type="http://schemas.openxmlformats.org/officeDocument/2006/relationships/tags" Target="../tags/tag132.xml"/><Relationship Id="rId90" Type="http://schemas.openxmlformats.org/officeDocument/2006/relationships/tags" Target="../tags/tag217.xml"/><Relationship Id="rId95" Type="http://schemas.openxmlformats.org/officeDocument/2006/relationships/tags" Target="../tags/tag222.xml"/><Relationship Id="rId22" Type="http://schemas.openxmlformats.org/officeDocument/2006/relationships/tags" Target="../tags/tag149.xml"/><Relationship Id="rId27" Type="http://schemas.openxmlformats.org/officeDocument/2006/relationships/tags" Target="../tags/tag154.xml"/><Relationship Id="rId43" Type="http://schemas.openxmlformats.org/officeDocument/2006/relationships/tags" Target="../tags/tag170.xml"/><Relationship Id="rId48" Type="http://schemas.openxmlformats.org/officeDocument/2006/relationships/tags" Target="../tags/tag175.xml"/><Relationship Id="rId64" Type="http://schemas.openxmlformats.org/officeDocument/2006/relationships/tags" Target="../tags/tag191.xml"/><Relationship Id="rId69" Type="http://schemas.openxmlformats.org/officeDocument/2006/relationships/tags" Target="../tags/tag196.xml"/><Relationship Id="rId113" Type="http://schemas.openxmlformats.org/officeDocument/2006/relationships/tags" Target="../tags/tag240.xml"/><Relationship Id="rId118" Type="http://schemas.openxmlformats.org/officeDocument/2006/relationships/tags" Target="../tags/tag245.xml"/><Relationship Id="rId134" Type="http://schemas.openxmlformats.org/officeDocument/2006/relationships/chart" Target="../charts/chart12.xml"/><Relationship Id="rId80" Type="http://schemas.openxmlformats.org/officeDocument/2006/relationships/tags" Target="../tags/tag207.xml"/><Relationship Id="rId85" Type="http://schemas.openxmlformats.org/officeDocument/2006/relationships/tags" Target="../tags/tag212.xml"/><Relationship Id="rId12" Type="http://schemas.openxmlformats.org/officeDocument/2006/relationships/tags" Target="../tags/tag139.xml"/><Relationship Id="rId17" Type="http://schemas.openxmlformats.org/officeDocument/2006/relationships/tags" Target="../tags/tag144.xml"/><Relationship Id="rId33" Type="http://schemas.openxmlformats.org/officeDocument/2006/relationships/tags" Target="../tags/tag160.xml"/><Relationship Id="rId38" Type="http://schemas.openxmlformats.org/officeDocument/2006/relationships/tags" Target="../tags/tag165.xml"/><Relationship Id="rId59" Type="http://schemas.openxmlformats.org/officeDocument/2006/relationships/tags" Target="../tags/tag186.xml"/><Relationship Id="rId103" Type="http://schemas.openxmlformats.org/officeDocument/2006/relationships/tags" Target="../tags/tag230.xml"/><Relationship Id="rId108" Type="http://schemas.openxmlformats.org/officeDocument/2006/relationships/tags" Target="../tags/tag235.xml"/><Relationship Id="rId124" Type="http://schemas.openxmlformats.org/officeDocument/2006/relationships/tags" Target="../tags/tag251.xml"/><Relationship Id="rId129" Type="http://schemas.openxmlformats.org/officeDocument/2006/relationships/tags" Target="../tags/tag256.xml"/><Relationship Id="rId54" Type="http://schemas.openxmlformats.org/officeDocument/2006/relationships/tags" Target="../tags/tag181.xml"/><Relationship Id="rId70" Type="http://schemas.openxmlformats.org/officeDocument/2006/relationships/tags" Target="../tags/tag197.xml"/><Relationship Id="rId75" Type="http://schemas.openxmlformats.org/officeDocument/2006/relationships/tags" Target="../tags/tag202.xml"/><Relationship Id="rId91" Type="http://schemas.openxmlformats.org/officeDocument/2006/relationships/tags" Target="../tags/tag218.xml"/><Relationship Id="rId96" Type="http://schemas.openxmlformats.org/officeDocument/2006/relationships/tags" Target="../tags/tag223.xml"/><Relationship Id="rId1" Type="http://schemas.openxmlformats.org/officeDocument/2006/relationships/tags" Target="../tags/tag128.xml"/><Relationship Id="rId6" Type="http://schemas.openxmlformats.org/officeDocument/2006/relationships/tags" Target="../tags/tag133.xml"/><Relationship Id="rId23" Type="http://schemas.openxmlformats.org/officeDocument/2006/relationships/tags" Target="../tags/tag150.xml"/><Relationship Id="rId28" Type="http://schemas.openxmlformats.org/officeDocument/2006/relationships/tags" Target="../tags/tag155.xml"/><Relationship Id="rId49" Type="http://schemas.openxmlformats.org/officeDocument/2006/relationships/tags" Target="../tags/tag176.xml"/><Relationship Id="rId114" Type="http://schemas.openxmlformats.org/officeDocument/2006/relationships/tags" Target="../tags/tag241.xml"/><Relationship Id="rId119" Type="http://schemas.openxmlformats.org/officeDocument/2006/relationships/tags" Target="../tags/tag246.xml"/><Relationship Id="rId44" Type="http://schemas.openxmlformats.org/officeDocument/2006/relationships/tags" Target="../tags/tag171.xml"/><Relationship Id="rId60" Type="http://schemas.openxmlformats.org/officeDocument/2006/relationships/tags" Target="../tags/tag187.xml"/><Relationship Id="rId65" Type="http://schemas.openxmlformats.org/officeDocument/2006/relationships/tags" Target="../tags/tag192.xml"/><Relationship Id="rId81" Type="http://schemas.openxmlformats.org/officeDocument/2006/relationships/tags" Target="../tags/tag208.xml"/><Relationship Id="rId86" Type="http://schemas.openxmlformats.org/officeDocument/2006/relationships/tags" Target="../tags/tag213.xml"/><Relationship Id="rId130" Type="http://schemas.openxmlformats.org/officeDocument/2006/relationships/slideLayout" Target="../slideLayouts/slideLayout2.xml"/><Relationship Id="rId13" Type="http://schemas.openxmlformats.org/officeDocument/2006/relationships/tags" Target="../tags/tag140.xml"/><Relationship Id="rId18" Type="http://schemas.openxmlformats.org/officeDocument/2006/relationships/tags" Target="../tags/tag145.xml"/><Relationship Id="rId39" Type="http://schemas.openxmlformats.org/officeDocument/2006/relationships/tags" Target="../tags/tag166.xml"/><Relationship Id="rId109" Type="http://schemas.openxmlformats.org/officeDocument/2006/relationships/tags" Target="../tags/tag236.xml"/><Relationship Id="rId34" Type="http://schemas.openxmlformats.org/officeDocument/2006/relationships/tags" Target="../tags/tag161.xml"/><Relationship Id="rId50" Type="http://schemas.openxmlformats.org/officeDocument/2006/relationships/tags" Target="../tags/tag177.xml"/><Relationship Id="rId55" Type="http://schemas.openxmlformats.org/officeDocument/2006/relationships/tags" Target="../tags/tag182.xml"/><Relationship Id="rId76" Type="http://schemas.openxmlformats.org/officeDocument/2006/relationships/tags" Target="../tags/tag203.xml"/><Relationship Id="rId97" Type="http://schemas.openxmlformats.org/officeDocument/2006/relationships/tags" Target="../tags/tag224.xml"/><Relationship Id="rId104" Type="http://schemas.openxmlformats.org/officeDocument/2006/relationships/tags" Target="../tags/tag231.xml"/><Relationship Id="rId120" Type="http://schemas.openxmlformats.org/officeDocument/2006/relationships/tags" Target="../tags/tag247.xml"/><Relationship Id="rId125" Type="http://schemas.openxmlformats.org/officeDocument/2006/relationships/tags" Target="../tags/tag252.xml"/><Relationship Id="rId7" Type="http://schemas.openxmlformats.org/officeDocument/2006/relationships/tags" Target="../tags/tag134.xml"/><Relationship Id="rId71" Type="http://schemas.openxmlformats.org/officeDocument/2006/relationships/tags" Target="../tags/tag198.xml"/><Relationship Id="rId92" Type="http://schemas.openxmlformats.org/officeDocument/2006/relationships/tags" Target="../tags/tag219.xml"/><Relationship Id="rId2" Type="http://schemas.openxmlformats.org/officeDocument/2006/relationships/tags" Target="../tags/tag129.xml"/><Relationship Id="rId29" Type="http://schemas.openxmlformats.org/officeDocument/2006/relationships/tags" Target="../tags/tag156.xml"/><Relationship Id="rId24" Type="http://schemas.openxmlformats.org/officeDocument/2006/relationships/tags" Target="../tags/tag151.xml"/><Relationship Id="rId40" Type="http://schemas.openxmlformats.org/officeDocument/2006/relationships/tags" Target="../tags/tag167.xml"/><Relationship Id="rId45" Type="http://schemas.openxmlformats.org/officeDocument/2006/relationships/tags" Target="../tags/tag172.xml"/><Relationship Id="rId66" Type="http://schemas.openxmlformats.org/officeDocument/2006/relationships/tags" Target="../tags/tag193.xml"/><Relationship Id="rId87" Type="http://schemas.openxmlformats.org/officeDocument/2006/relationships/tags" Target="../tags/tag214.xml"/><Relationship Id="rId110" Type="http://schemas.openxmlformats.org/officeDocument/2006/relationships/tags" Target="../tags/tag237.xml"/><Relationship Id="rId115" Type="http://schemas.openxmlformats.org/officeDocument/2006/relationships/tags" Target="../tags/tag242.xml"/><Relationship Id="rId131" Type="http://schemas.openxmlformats.org/officeDocument/2006/relationships/oleObject" Target="../embeddings/oleObject27.bin"/><Relationship Id="rId61" Type="http://schemas.openxmlformats.org/officeDocument/2006/relationships/tags" Target="../tags/tag188.xml"/><Relationship Id="rId82" Type="http://schemas.openxmlformats.org/officeDocument/2006/relationships/tags" Target="../tags/tag209.xml"/><Relationship Id="rId19" Type="http://schemas.openxmlformats.org/officeDocument/2006/relationships/tags" Target="../tags/tag146.xml"/><Relationship Id="rId14" Type="http://schemas.openxmlformats.org/officeDocument/2006/relationships/tags" Target="../tags/tag141.xml"/><Relationship Id="rId30" Type="http://schemas.openxmlformats.org/officeDocument/2006/relationships/tags" Target="../tags/tag157.xml"/><Relationship Id="rId35" Type="http://schemas.openxmlformats.org/officeDocument/2006/relationships/tags" Target="../tags/tag162.xml"/><Relationship Id="rId56" Type="http://schemas.openxmlformats.org/officeDocument/2006/relationships/tags" Target="../tags/tag183.xml"/><Relationship Id="rId77" Type="http://schemas.openxmlformats.org/officeDocument/2006/relationships/tags" Target="../tags/tag204.xml"/><Relationship Id="rId100" Type="http://schemas.openxmlformats.org/officeDocument/2006/relationships/tags" Target="../tags/tag227.xml"/><Relationship Id="rId105" Type="http://schemas.openxmlformats.org/officeDocument/2006/relationships/tags" Target="../tags/tag232.xml"/><Relationship Id="rId126" Type="http://schemas.openxmlformats.org/officeDocument/2006/relationships/tags" Target="../tags/tag253.xml"/><Relationship Id="rId8" Type="http://schemas.openxmlformats.org/officeDocument/2006/relationships/tags" Target="../tags/tag135.xml"/><Relationship Id="rId51" Type="http://schemas.openxmlformats.org/officeDocument/2006/relationships/tags" Target="../tags/tag178.xml"/><Relationship Id="rId72" Type="http://schemas.openxmlformats.org/officeDocument/2006/relationships/tags" Target="../tags/tag199.xml"/><Relationship Id="rId93" Type="http://schemas.openxmlformats.org/officeDocument/2006/relationships/tags" Target="../tags/tag220.xml"/><Relationship Id="rId98" Type="http://schemas.openxmlformats.org/officeDocument/2006/relationships/tags" Target="../tags/tag225.xml"/><Relationship Id="rId121" Type="http://schemas.openxmlformats.org/officeDocument/2006/relationships/tags" Target="../tags/tag248.xml"/><Relationship Id="rId3" Type="http://schemas.openxmlformats.org/officeDocument/2006/relationships/tags" Target="../tags/tag130.xml"/><Relationship Id="rId25" Type="http://schemas.openxmlformats.org/officeDocument/2006/relationships/tags" Target="../tags/tag152.xml"/><Relationship Id="rId46" Type="http://schemas.openxmlformats.org/officeDocument/2006/relationships/tags" Target="../tags/tag173.xml"/><Relationship Id="rId67" Type="http://schemas.openxmlformats.org/officeDocument/2006/relationships/tags" Target="../tags/tag194.xml"/><Relationship Id="rId116" Type="http://schemas.openxmlformats.org/officeDocument/2006/relationships/tags" Target="../tags/tag243.xml"/><Relationship Id="rId20" Type="http://schemas.openxmlformats.org/officeDocument/2006/relationships/tags" Target="../tags/tag147.xml"/><Relationship Id="rId41" Type="http://schemas.openxmlformats.org/officeDocument/2006/relationships/tags" Target="../tags/tag168.xml"/><Relationship Id="rId62" Type="http://schemas.openxmlformats.org/officeDocument/2006/relationships/tags" Target="../tags/tag189.xml"/><Relationship Id="rId83" Type="http://schemas.openxmlformats.org/officeDocument/2006/relationships/tags" Target="../tags/tag210.xml"/><Relationship Id="rId88" Type="http://schemas.openxmlformats.org/officeDocument/2006/relationships/tags" Target="../tags/tag215.xml"/><Relationship Id="rId111" Type="http://schemas.openxmlformats.org/officeDocument/2006/relationships/tags" Target="../tags/tag238.xml"/><Relationship Id="rId132" Type="http://schemas.openxmlformats.org/officeDocument/2006/relationships/image" Target="../media/image1.emf"/><Relationship Id="rId15" Type="http://schemas.openxmlformats.org/officeDocument/2006/relationships/tags" Target="../tags/tag142.xml"/><Relationship Id="rId36" Type="http://schemas.openxmlformats.org/officeDocument/2006/relationships/tags" Target="../tags/tag163.xml"/><Relationship Id="rId57" Type="http://schemas.openxmlformats.org/officeDocument/2006/relationships/tags" Target="../tags/tag184.xml"/><Relationship Id="rId106" Type="http://schemas.openxmlformats.org/officeDocument/2006/relationships/tags" Target="../tags/tag233.xml"/><Relationship Id="rId127" Type="http://schemas.openxmlformats.org/officeDocument/2006/relationships/tags" Target="../tags/tag254.xml"/><Relationship Id="rId10" Type="http://schemas.openxmlformats.org/officeDocument/2006/relationships/tags" Target="../tags/tag137.xml"/><Relationship Id="rId31" Type="http://schemas.openxmlformats.org/officeDocument/2006/relationships/tags" Target="../tags/tag158.xml"/><Relationship Id="rId52" Type="http://schemas.openxmlformats.org/officeDocument/2006/relationships/tags" Target="../tags/tag179.xml"/><Relationship Id="rId73" Type="http://schemas.openxmlformats.org/officeDocument/2006/relationships/tags" Target="../tags/tag200.xml"/><Relationship Id="rId78" Type="http://schemas.openxmlformats.org/officeDocument/2006/relationships/tags" Target="../tags/tag205.xml"/><Relationship Id="rId94" Type="http://schemas.openxmlformats.org/officeDocument/2006/relationships/tags" Target="../tags/tag221.xml"/><Relationship Id="rId99" Type="http://schemas.openxmlformats.org/officeDocument/2006/relationships/tags" Target="../tags/tag226.xml"/><Relationship Id="rId101" Type="http://schemas.openxmlformats.org/officeDocument/2006/relationships/tags" Target="../tags/tag228.xml"/><Relationship Id="rId122" Type="http://schemas.openxmlformats.org/officeDocument/2006/relationships/tags" Target="../tags/tag249.xml"/><Relationship Id="rId4" Type="http://schemas.openxmlformats.org/officeDocument/2006/relationships/tags" Target="../tags/tag131.xml"/><Relationship Id="rId9" Type="http://schemas.openxmlformats.org/officeDocument/2006/relationships/tags" Target="../tags/tag136.xml"/><Relationship Id="rId26" Type="http://schemas.openxmlformats.org/officeDocument/2006/relationships/tags" Target="../tags/tag153.xml"/><Relationship Id="rId47" Type="http://schemas.openxmlformats.org/officeDocument/2006/relationships/tags" Target="../tags/tag174.xml"/><Relationship Id="rId68" Type="http://schemas.openxmlformats.org/officeDocument/2006/relationships/tags" Target="../tags/tag195.xml"/><Relationship Id="rId89" Type="http://schemas.openxmlformats.org/officeDocument/2006/relationships/tags" Target="../tags/tag216.xml"/><Relationship Id="rId112" Type="http://schemas.openxmlformats.org/officeDocument/2006/relationships/tags" Target="../tags/tag239.xml"/><Relationship Id="rId133" Type="http://schemas.openxmlformats.org/officeDocument/2006/relationships/chart" Target="../charts/chart11.xml"/></Relationships>
</file>

<file path=ppt/slides/_rels/slide27.xml.rels><?xml version="1.0" encoding="UTF-8" standalone="yes"?>
<Relationships xmlns="http://schemas.openxmlformats.org/package/2006/relationships"><Relationship Id="rId26" Type="http://schemas.openxmlformats.org/officeDocument/2006/relationships/tags" Target="../tags/tag282.xml"/><Relationship Id="rId117" Type="http://schemas.openxmlformats.org/officeDocument/2006/relationships/tags" Target="../tags/tag373.xml"/><Relationship Id="rId21" Type="http://schemas.openxmlformats.org/officeDocument/2006/relationships/tags" Target="../tags/tag277.xml"/><Relationship Id="rId42" Type="http://schemas.openxmlformats.org/officeDocument/2006/relationships/tags" Target="../tags/tag298.xml"/><Relationship Id="rId47" Type="http://schemas.openxmlformats.org/officeDocument/2006/relationships/tags" Target="../tags/tag303.xml"/><Relationship Id="rId63" Type="http://schemas.openxmlformats.org/officeDocument/2006/relationships/tags" Target="../tags/tag319.xml"/><Relationship Id="rId68" Type="http://schemas.openxmlformats.org/officeDocument/2006/relationships/tags" Target="../tags/tag324.xml"/><Relationship Id="rId84" Type="http://schemas.openxmlformats.org/officeDocument/2006/relationships/tags" Target="../tags/tag340.xml"/><Relationship Id="rId89" Type="http://schemas.openxmlformats.org/officeDocument/2006/relationships/tags" Target="../tags/tag345.xml"/><Relationship Id="rId112" Type="http://schemas.openxmlformats.org/officeDocument/2006/relationships/tags" Target="../tags/tag368.xml"/><Relationship Id="rId16" Type="http://schemas.openxmlformats.org/officeDocument/2006/relationships/tags" Target="../tags/tag272.xml"/><Relationship Id="rId107" Type="http://schemas.openxmlformats.org/officeDocument/2006/relationships/tags" Target="../tags/tag363.xml"/><Relationship Id="rId11" Type="http://schemas.openxmlformats.org/officeDocument/2006/relationships/tags" Target="../tags/tag267.xml"/><Relationship Id="rId32" Type="http://schemas.openxmlformats.org/officeDocument/2006/relationships/tags" Target="../tags/tag288.xml"/><Relationship Id="rId37" Type="http://schemas.openxmlformats.org/officeDocument/2006/relationships/tags" Target="../tags/tag293.xml"/><Relationship Id="rId53" Type="http://schemas.openxmlformats.org/officeDocument/2006/relationships/tags" Target="../tags/tag309.xml"/><Relationship Id="rId58" Type="http://schemas.openxmlformats.org/officeDocument/2006/relationships/tags" Target="../tags/tag314.xml"/><Relationship Id="rId74" Type="http://schemas.openxmlformats.org/officeDocument/2006/relationships/tags" Target="../tags/tag330.xml"/><Relationship Id="rId79" Type="http://schemas.openxmlformats.org/officeDocument/2006/relationships/tags" Target="../tags/tag335.xml"/><Relationship Id="rId102" Type="http://schemas.openxmlformats.org/officeDocument/2006/relationships/tags" Target="../tags/tag358.xml"/><Relationship Id="rId5" Type="http://schemas.openxmlformats.org/officeDocument/2006/relationships/tags" Target="../tags/tag261.xml"/><Relationship Id="rId90" Type="http://schemas.openxmlformats.org/officeDocument/2006/relationships/tags" Target="../tags/tag346.xml"/><Relationship Id="rId95" Type="http://schemas.openxmlformats.org/officeDocument/2006/relationships/tags" Target="../tags/tag351.xml"/><Relationship Id="rId22" Type="http://schemas.openxmlformats.org/officeDocument/2006/relationships/tags" Target="../tags/tag278.xml"/><Relationship Id="rId27" Type="http://schemas.openxmlformats.org/officeDocument/2006/relationships/tags" Target="../tags/tag283.xml"/><Relationship Id="rId43" Type="http://schemas.openxmlformats.org/officeDocument/2006/relationships/tags" Target="../tags/tag299.xml"/><Relationship Id="rId48" Type="http://schemas.openxmlformats.org/officeDocument/2006/relationships/tags" Target="../tags/tag304.xml"/><Relationship Id="rId64" Type="http://schemas.openxmlformats.org/officeDocument/2006/relationships/tags" Target="../tags/tag320.xml"/><Relationship Id="rId69" Type="http://schemas.openxmlformats.org/officeDocument/2006/relationships/tags" Target="../tags/tag325.xml"/><Relationship Id="rId113" Type="http://schemas.openxmlformats.org/officeDocument/2006/relationships/tags" Target="../tags/tag369.xml"/><Relationship Id="rId118" Type="http://schemas.openxmlformats.org/officeDocument/2006/relationships/slideLayout" Target="../slideLayouts/slideLayout2.xml"/><Relationship Id="rId80" Type="http://schemas.openxmlformats.org/officeDocument/2006/relationships/tags" Target="../tags/tag336.xml"/><Relationship Id="rId85" Type="http://schemas.openxmlformats.org/officeDocument/2006/relationships/tags" Target="../tags/tag341.xml"/><Relationship Id="rId12" Type="http://schemas.openxmlformats.org/officeDocument/2006/relationships/tags" Target="../tags/tag268.xml"/><Relationship Id="rId17" Type="http://schemas.openxmlformats.org/officeDocument/2006/relationships/tags" Target="../tags/tag273.xml"/><Relationship Id="rId33" Type="http://schemas.openxmlformats.org/officeDocument/2006/relationships/tags" Target="../tags/tag289.xml"/><Relationship Id="rId38" Type="http://schemas.openxmlformats.org/officeDocument/2006/relationships/tags" Target="../tags/tag294.xml"/><Relationship Id="rId59" Type="http://schemas.openxmlformats.org/officeDocument/2006/relationships/tags" Target="../tags/tag315.xml"/><Relationship Id="rId103" Type="http://schemas.openxmlformats.org/officeDocument/2006/relationships/tags" Target="../tags/tag359.xml"/><Relationship Id="rId108" Type="http://schemas.openxmlformats.org/officeDocument/2006/relationships/tags" Target="../tags/tag364.xml"/><Relationship Id="rId54" Type="http://schemas.openxmlformats.org/officeDocument/2006/relationships/tags" Target="../tags/tag310.xml"/><Relationship Id="rId70" Type="http://schemas.openxmlformats.org/officeDocument/2006/relationships/tags" Target="../tags/tag326.xml"/><Relationship Id="rId75" Type="http://schemas.openxmlformats.org/officeDocument/2006/relationships/tags" Target="../tags/tag331.xml"/><Relationship Id="rId91" Type="http://schemas.openxmlformats.org/officeDocument/2006/relationships/tags" Target="../tags/tag347.xml"/><Relationship Id="rId96" Type="http://schemas.openxmlformats.org/officeDocument/2006/relationships/tags" Target="../tags/tag352.xml"/><Relationship Id="rId1" Type="http://schemas.openxmlformats.org/officeDocument/2006/relationships/tags" Target="../tags/tag257.xml"/><Relationship Id="rId6" Type="http://schemas.openxmlformats.org/officeDocument/2006/relationships/tags" Target="../tags/tag262.xml"/><Relationship Id="rId23" Type="http://schemas.openxmlformats.org/officeDocument/2006/relationships/tags" Target="../tags/tag279.xml"/><Relationship Id="rId28" Type="http://schemas.openxmlformats.org/officeDocument/2006/relationships/tags" Target="../tags/tag284.xml"/><Relationship Id="rId49" Type="http://schemas.openxmlformats.org/officeDocument/2006/relationships/tags" Target="../tags/tag305.xml"/><Relationship Id="rId114" Type="http://schemas.openxmlformats.org/officeDocument/2006/relationships/tags" Target="../tags/tag370.xml"/><Relationship Id="rId119" Type="http://schemas.openxmlformats.org/officeDocument/2006/relationships/oleObject" Target="../embeddings/oleObject28.bin"/><Relationship Id="rId44" Type="http://schemas.openxmlformats.org/officeDocument/2006/relationships/tags" Target="../tags/tag300.xml"/><Relationship Id="rId60" Type="http://schemas.openxmlformats.org/officeDocument/2006/relationships/tags" Target="../tags/tag316.xml"/><Relationship Id="rId65" Type="http://schemas.openxmlformats.org/officeDocument/2006/relationships/tags" Target="../tags/tag321.xml"/><Relationship Id="rId81" Type="http://schemas.openxmlformats.org/officeDocument/2006/relationships/tags" Target="../tags/tag337.xml"/><Relationship Id="rId86" Type="http://schemas.openxmlformats.org/officeDocument/2006/relationships/tags" Target="../tags/tag342.xml"/><Relationship Id="rId4" Type="http://schemas.openxmlformats.org/officeDocument/2006/relationships/tags" Target="../tags/tag260.xml"/><Relationship Id="rId9" Type="http://schemas.openxmlformats.org/officeDocument/2006/relationships/tags" Target="../tags/tag265.xml"/><Relationship Id="rId13" Type="http://schemas.openxmlformats.org/officeDocument/2006/relationships/tags" Target="../tags/tag269.xml"/><Relationship Id="rId18" Type="http://schemas.openxmlformats.org/officeDocument/2006/relationships/tags" Target="../tags/tag274.xml"/><Relationship Id="rId39" Type="http://schemas.openxmlformats.org/officeDocument/2006/relationships/tags" Target="../tags/tag295.xml"/><Relationship Id="rId109" Type="http://schemas.openxmlformats.org/officeDocument/2006/relationships/tags" Target="../tags/tag365.xml"/><Relationship Id="rId34" Type="http://schemas.openxmlformats.org/officeDocument/2006/relationships/tags" Target="../tags/tag290.xml"/><Relationship Id="rId50" Type="http://schemas.openxmlformats.org/officeDocument/2006/relationships/tags" Target="../tags/tag306.xml"/><Relationship Id="rId55" Type="http://schemas.openxmlformats.org/officeDocument/2006/relationships/tags" Target="../tags/tag311.xml"/><Relationship Id="rId76" Type="http://schemas.openxmlformats.org/officeDocument/2006/relationships/tags" Target="../tags/tag332.xml"/><Relationship Id="rId97" Type="http://schemas.openxmlformats.org/officeDocument/2006/relationships/tags" Target="../tags/tag353.xml"/><Relationship Id="rId104" Type="http://schemas.openxmlformats.org/officeDocument/2006/relationships/tags" Target="../tags/tag360.xml"/><Relationship Id="rId120" Type="http://schemas.openxmlformats.org/officeDocument/2006/relationships/image" Target="../media/image1.emf"/><Relationship Id="rId7" Type="http://schemas.openxmlformats.org/officeDocument/2006/relationships/tags" Target="../tags/tag263.xml"/><Relationship Id="rId71" Type="http://schemas.openxmlformats.org/officeDocument/2006/relationships/tags" Target="../tags/tag327.xml"/><Relationship Id="rId92" Type="http://schemas.openxmlformats.org/officeDocument/2006/relationships/tags" Target="../tags/tag348.xml"/><Relationship Id="rId2" Type="http://schemas.openxmlformats.org/officeDocument/2006/relationships/tags" Target="../tags/tag258.xml"/><Relationship Id="rId29" Type="http://schemas.openxmlformats.org/officeDocument/2006/relationships/tags" Target="../tags/tag285.xml"/><Relationship Id="rId24" Type="http://schemas.openxmlformats.org/officeDocument/2006/relationships/tags" Target="../tags/tag280.xml"/><Relationship Id="rId40" Type="http://schemas.openxmlformats.org/officeDocument/2006/relationships/tags" Target="../tags/tag296.xml"/><Relationship Id="rId45" Type="http://schemas.openxmlformats.org/officeDocument/2006/relationships/tags" Target="../tags/tag301.xml"/><Relationship Id="rId66" Type="http://schemas.openxmlformats.org/officeDocument/2006/relationships/tags" Target="../tags/tag322.xml"/><Relationship Id="rId87" Type="http://schemas.openxmlformats.org/officeDocument/2006/relationships/tags" Target="../tags/tag343.xml"/><Relationship Id="rId110" Type="http://schemas.openxmlformats.org/officeDocument/2006/relationships/tags" Target="../tags/tag366.xml"/><Relationship Id="rId115" Type="http://schemas.openxmlformats.org/officeDocument/2006/relationships/tags" Target="../tags/tag371.xml"/><Relationship Id="rId61" Type="http://schemas.openxmlformats.org/officeDocument/2006/relationships/tags" Target="../tags/tag317.xml"/><Relationship Id="rId82" Type="http://schemas.openxmlformats.org/officeDocument/2006/relationships/tags" Target="../tags/tag338.xml"/><Relationship Id="rId19" Type="http://schemas.openxmlformats.org/officeDocument/2006/relationships/tags" Target="../tags/tag275.xml"/><Relationship Id="rId14" Type="http://schemas.openxmlformats.org/officeDocument/2006/relationships/tags" Target="../tags/tag270.xml"/><Relationship Id="rId30" Type="http://schemas.openxmlformats.org/officeDocument/2006/relationships/tags" Target="../tags/tag286.xml"/><Relationship Id="rId35" Type="http://schemas.openxmlformats.org/officeDocument/2006/relationships/tags" Target="../tags/tag291.xml"/><Relationship Id="rId56" Type="http://schemas.openxmlformats.org/officeDocument/2006/relationships/tags" Target="../tags/tag312.xml"/><Relationship Id="rId77" Type="http://schemas.openxmlformats.org/officeDocument/2006/relationships/tags" Target="../tags/tag333.xml"/><Relationship Id="rId100" Type="http://schemas.openxmlformats.org/officeDocument/2006/relationships/tags" Target="../tags/tag356.xml"/><Relationship Id="rId105" Type="http://schemas.openxmlformats.org/officeDocument/2006/relationships/tags" Target="../tags/tag361.xml"/><Relationship Id="rId8" Type="http://schemas.openxmlformats.org/officeDocument/2006/relationships/tags" Target="../tags/tag264.xml"/><Relationship Id="rId51" Type="http://schemas.openxmlformats.org/officeDocument/2006/relationships/tags" Target="../tags/tag307.xml"/><Relationship Id="rId72" Type="http://schemas.openxmlformats.org/officeDocument/2006/relationships/tags" Target="../tags/tag328.xml"/><Relationship Id="rId93" Type="http://schemas.openxmlformats.org/officeDocument/2006/relationships/tags" Target="../tags/tag349.xml"/><Relationship Id="rId98" Type="http://schemas.openxmlformats.org/officeDocument/2006/relationships/tags" Target="../tags/tag354.xml"/><Relationship Id="rId121" Type="http://schemas.openxmlformats.org/officeDocument/2006/relationships/chart" Target="../charts/chart13.xml"/><Relationship Id="rId3" Type="http://schemas.openxmlformats.org/officeDocument/2006/relationships/tags" Target="../tags/tag259.xml"/><Relationship Id="rId25" Type="http://schemas.openxmlformats.org/officeDocument/2006/relationships/tags" Target="../tags/tag281.xml"/><Relationship Id="rId46" Type="http://schemas.openxmlformats.org/officeDocument/2006/relationships/tags" Target="../tags/tag302.xml"/><Relationship Id="rId67" Type="http://schemas.openxmlformats.org/officeDocument/2006/relationships/tags" Target="../tags/tag323.xml"/><Relationship Id="rId116" Type="http://schemas.openxmlformats.org/officeDocument/2006/relationships/tags" Target="../tags/tag372.xml"/><Relationship Id="rId20" Type="http://schemas.openxmlformats.org/officeDocument/2006/relationships/tags" Target="../tags/tag276.xml"/><Relationship Id="rId41" Type="http://schemas.openxmlformats.org/officeDocument/2006/relationships/tags" Target="../tags/tag297.xml"/><Relationship Id="rId62" Type="http://schemas.openxmlformats.org/officeDocument/2006/relationships/tags" Target="../tags/tag318.xml"/><Relationship Id="rId83" Type="http://schemas.openxmlformats.org/officeDocument/2006/relationships/tags" Target="../tags/tag339.xml"/><Relationship Id="rId88" Type="http://schemas.openxmlformats.org/officeDocument/2006/relationships/tags" Target="../tags/tag344.xml"/><Relationship Id="rId111" Type="http://schemas.openxmlformats.org/officeDocument/2006/relationships/tags" Target="../tags/tag367.xml"/><Relationship Id="rId15" Type="http://schemas.openxmlformats.org/officeDocument/2006/relationships/tags" Target="../tags/tag271.xml"/><Relationship Id="rId36" Type="http://schemas.openxmlformats.org/officeDocument/2006/relationships/tags" Target="../tags/tag292.xml"/><Relationship Id="rId57" Type="http://schemas.openxmlformats.org/officeDocument/2006/relationships/tags" Target="../tags/tag313.xml"/><Relationship Id="rId106" Type="http://schemas.openxmlformats.org/officeDocument/2006/relationships/tags" Target="../tags/tag362.xml"/><Relationship Id="rId10" Type="http://schemas.openxmlformats.org/officeDocument/2006/relationships/tags" Target="../tags/tag266.xml"/><Relationship Id="rId31" Type="http://schemas.openxmlformats.org/officeDocument/2006/relationships/tags" Target="../tags/tag287.xml"/><Relationship Id="rId52" Type="http://schemas.openxmlformats.org/officeDocument/2006/relationships/tags" Target="../tags/tag308.xml"/><Relationship Id="rId73" Type="http://schemas.openxmlformats.org/officeDocument/2006/relationships/tags" Target="../tags/tag329.xml"/><Relationship Id="rId78" Type="http://schemas.openxmlformats.org/officeDocument/2006/relationships/tags" Target="../tags/tag334.xml"/><Relationship Id="rId94" Type="http://schemas.openxmlformats.org/officeDocument/2006/relationships/tags" Target="../tags/tag350.xml"/><Relationship Id="rId99" Type="http://schemas.openxmlformats.org/officeDocument/2006/relationships/tags" Target="../tags/tag355.xml"/><Relationship Id="rId101" Type="http://schemas.openxmlformats.org/officeDocument/2006/relationships/tags" Target="../tags/tag357.xml"/><Relationship Id="rId122" Type="http://schemas.openxmlformats.org/officeDocument/2006/relationships/chart" Target="../charts/chart14.xml"/></Relationships>
</file>

<file path=ppt/slides/_rels/slide28.xml.rels><?xml version="1.0" encoding="UTF-8" standalone="yes"?>
<Relationships xmlns="http://schemas.openxmlformats.org/package/2006/relationships"><Relationship Id="rId26" Type="http://schemas.openxmlformats.org/officeDocument/2006/relationships/tags" Target="../tags/tag399.xml"/><Relationship Id="rId21" Type="http://schemas.openxmlformats.org/officeDocument/2006/relationships/tags" Target="../tags/tag394.xml"/><Relationship Id="rId42" Type="http://schemas.openxmlformats.org/officeDocument/2006/relationships/tags" Target="../tags/tag415.xml"/><Relationship Id="rId47" Type="http://schemas.openxmlformats.org/officeDocument/2006/relationships/tags" Target="../tags/tag420.xml"/><Relationship Id="rId63" Type="http://schemas.openxmlformats.org/officeDocument/2006/relationships/tags" Target="../tags/tag436.xml"/><Relationship Id="rId68" Type="http://schemas.openxmlformats.org/officeDocument/2006/relationships/tags" Target="../tags/tag441.xml"/><Relationship Id="rId2" Type="http://schemas.openxmlformats.org/officeDocument/2006/relationships/tags" Target="../tags/tag375.xml"/><Relationship Id="rId16" Type="http://schemas.openxmlformats.org/officeDocument/2006/relationships/tags" Target="../tags/tag389.xml"/><Relationship Id="rId29" Type="http://schemas.openxmlformats.org/officeDocument/2006/relationships/tags" Target="../tags/tag402.xml"/><Relationship Id="rId11" Type="http://schemas.openxmlformats.org/officeDocument/2006/relationships/tags" Target="../tags/tag384.xml"/><Relationship Id="rId24" Type="http://schemas.openxmlformats.org/officeDocument/2006/relationships/tags" Target="../tags/tag397.xml"/><Relationship Id="rId32" Type="http://schemas.openxmlformats.org/officeDocument/2006/relationships/tags" Target="../tags/tag405.xml"/><Relationship Id="rId37" Type="http://schemas.openxmlformats.org/officeDocument/2006/relationships/tags" Target="../tags/tag410.xml"/><Relationship Id="rId40" Type="http://schemas.openxmlformats.org/officeDocument/2006/relationships/tags" Target="../tags/tag413.xml"/><Relationship Id="rId45" Type="http://schemas.openxmlformats.org/officeDocument/2006/relationships/tags" Target="../tags/tag418.xml"/><Relationship Id="rId53" Type="http://schemas.openxmlformats.org/officeDocument/2006/relationships/tags" Target="../tags/tag426.xml"/><Relationship Id="rId58" Type="http://schemas.openxmlformats.org/officeDocument/2006/relationships/tags" Target="../tags/tag431.xml"/><Relationship Id="rId66" Type="http://schemas.openxmlformats.org/officeDocument/2006/relationships/tags" Target="../tags/tag439.xml"/><Relationship Id="rId74" Type="http://schemas.openxmlformats.org/officeDocument/2006/relationships/chart" Target="../charts/chart16.xml"/><Relationship Id="rId5" Type="http://schemas.openxmlformats.org/officeDocument/2006/relationships/tags" Target="../tags/tag378.xml"/><Relationship Id="rId61" Type="http://schemas.openxmlformats.org/officeDocument/2006/relationships/tags" Target="../tags/tag434.xml"/><Relationship Id="rId19" Type="http://schemas.openxmlformats.org/officeDocument/2006/relationships/tags" Target="../tags/tag392.xml"/><Relationship Id="rId14" Type="http://schemas.openxmlformats.org/officeDocument/2006/relationships/tags" Target="../tags/tag387.xml"/><Relationship Id="rId22" Type="http://schemas.openxmlformats.org/officeDocument/2006/relationships/tags" Target="../tags/tag395.xml"/><Relationship Id="rId27" Type="http://schemas.openxmlformats.org/officeDocument/2006/relationships/tags" Target="../tags/tag400.xml"/><Relationship Id="rId30" Type="http://schemas.openxmlformats.org/officeDocument/2006/relationships/tags" Target="../tags/tag403.xml"/><Relationship Id="rId35" Type="http://schemas.openxmlformats.org/officeDocument/2006/relationships/tags" Target="../tags/tag408.xml"/><Relationship Id="rId43" Type="http://schemas.openxmlformats.org/officeDocument/2006/relationships/tags" Target="../tags/tag416.xml"/><Relationship Id="rId48" Type="http://schemas.openxmlformats.org/officeDocument/2006/relationships/tags" Target="../tags/tag421.xml"/><Relationship Id="rId56" Type="http://schemas.openxmlformats.org/officeDocument/2006/relationships/tags" Target="../tags/tag429.xml"/><Relationship Id="rId64" Type="http://schemas.openxmlformats.org/officeDocument/2006/relationships/tags" Target="../tags/tag437.xml"/><Relationship Id="rId69" Type="http://schemas.openxmlformats.org/officeDocument/2006/relationships/tags" Target="../tags/tag442.xml"/><Relationship Id="rId8" Type="http://schemas.openxmlformats.org/officeDocument/2006/relationships/tags" Target="../tags/tag381.xml"/><Relationship Id="rId51" Type="http://schemas.openxmlformats.org/officeDocument/2006/relationships/tags" Target="../tags/tag424.xml"/><Relationship Id="rId72" Type="http://schemas.openxmlformats.org/officeDocument/2006/relationships/image" Target="../media/image1.emf"/><Relationship Id="rId3" Type="http://schemas.openxmlformats.org/officeDocument/2006/relationships/tags" Target="../tags/tag376.xml"/><Relationship Id="rId12" Type="http://schemas.openxmlformats.org/officeDocument/2006/relationships/tags" Target="../tags/tag385.xml"/><Relationship Id="rId17" Type="http://schemas.openxmlformats.org/officeDocument/2006/relationships/tags" Target="../tags/tag390.xml"/><Relationship Id="rId25" Type="http://schemas.openxmlformats.org/officeDocument/2006/relationships/tags" Target="../tags/tag398.xml"/><Relationship Id="rId33" Type="http://schemas.openxmlformats.org/officeDocument/2006/relationships/tags" Target="../tags/tag406.xml"/><Relationship Id="rId38" Type="http://schemas.openxmlformats.org/officeDocument/2006/relationships/tags" Target="../tags/tag411.xml"/><Relationship Id="rId46" Type="http://schemas.openxmlformats.org/officeDocument/2006/relationships/tags" Target="../tags/tag419.xml"/><Relationship Id="rId59" Type="http://schemas.openxmlformats.org/officeDocument/2006/relationships/tags" Target="../tags/tag432.xml"/><Relationship Id="rId67" Type="http://schemas.openxmlformats.org/officeDocument/2006/relationships/tags" Target="../tags/tag440.xml"/><Relationship Id="rId20" Type="http://schemas.openxmlformats.org/officeDocument/2006/relationships/tags" Target="../tags/tag393.xml"/><Relationship Id="rId41" Type="http://schemas.openxmlformats.org/officeDocument/2006/relationships/tags" Target="../tags/tag414.xml"/><Relationship Id="rId54" Type="http://schemas.openxmlformats.org/officeDocument/2006/relationships/tags" Target="../tags/tag427.xml"/><Relationship Id="rId62" Type="http://schemas.openxmlformats.org/officeDocument/2006/relationships/tags" Target="../tags/tag435.xml"/><Relationship Id="rId70" Type="http://schemas.openxmlformats.org/officeDocument/2006/relationships/slideLayout" Target="../slideLayouts/slideLayout2.xml"/><Relationship Id="rId1" Type="http://schemas.openxmlformats.org/officeDocument/2006/relationships/tags" Target="../tags/tag374.xml"/><Relationship Id="rId6" Type="http://schemas.openxmlformats.org/officeDocument/2006/relationships/tags" Target="../tags/tag379.xml"/><Relationship Id="rId15" Type="http://schemas.openxmlformats.org/officeDocument/2006/relationships/tags" Target="../tags/tag388.xml"/><Relationship Id="rId23" Type="http://schemas.openxmlformats.org/officeDocument/2006/relationships/tags" Target="../tags/tag396.xml"/><Relationship Id="rId28" Type="http://schemas.openxmlformats.org/officeDocument/2006/relationships/tags" Target="../tags/tag401.xml"/><Relationship Id="rId36" Type="http://schemas.openxmlformats.org/officeDocument/2006/relationships/tags" Target="../tags/tag409.xml"/><Relationship Id="rId49" Type="http://schemas.openxmlformats.org/officeDocument/2006/relationships/tags" Target="../tags/tag422.xml"/><Relationship Id="rId57" Type="http://schemas.openxmlformats.org/officeDocument/2006/relationships/tags" Target="../tags/tag430.xml"/><Relationship Id="rId10" Type="http://schemas.openxmlformats.org/officeDocument/2006/relationships/tags" Target="../tags/tag383.xml"/><Relationship Id="rId31" Type="http://schemas.openxmlformats.org/officeDocument/2006/relationships/tags" Target="../tags/tag404.xml"/><Relationship Id="rId44" Type="http://schemas.openxmlformats.org/officeDocument/2006/relationships/tags" Target="../tags/tag417.xml"/><Relationship Id="rId52" Type="http://schemas.openxmlformats.org/officeDocument/2006/relationships/tags" Target="../tags/tag425.xml"/><Relationship Id="rId60" Type="http://schemas.openxmlformats.org/officeDocument/2006/relationships/tags" Target="../tags/tag433.xml"/><Relationship Id="rId65" Type="http://schemas.openxmlformats.org/officeDocument/2006/relationships/tags" Target="../tags/tag438.xml"/><Relationship Id="rId73" Type="http://schemas.openxmlformats.org/officeDocument/2006/relationships/chart" Target="../charts/chart15.xml"/><Relationship Id="rId4" Type="http://schemas.openxmlformats.org/officeDocument/2006/relationships/tags" Target="../tags/tag377.xml"/><Relationship Id="rId9" Type="http://schemas.openxmlformats.org/officeDocument/2006/relationships/tags" Target="../tags/tag382.xml"/><Relationship Id="rId13" Type="http://schemas.openxmlformats.org/officeDocument/2006/relationships/tags" Target="../tags/tag386.xml"/><Relationship Id="rId18" Type="http://schemas.openxmlformats.org/officeDocument/2006/relationships/tags" Target="../tags/tag391.xml"/><Relationship Id="rId39" Type="http://schemas.openxmlformats.org/officeDocument/2006/relationships/tags" Target="../tags/tag412.xml"/><Relationship Id="rId34" Type="http://schemas.openxmlformats.org/officeDocument/2006/relationships/tags" Target="../tags/tag407.xml"/><Relationship Id="rId50" Type="http://schemas.openxmlformats.org/officeDocument/2006/relationships/tags" Target="../tags/tag423.xml"/><Relationship Id="rId55" Type="http://schemas.openxmlformats.org/officeDocument/2006/relationships/tags" Target="../tags/tag428.xml"/><Relationship Id="rId7" Type="http://schemas.openxmlformats.org/officeDocument/2006/relationships/tags" Target="../tags/tag380.xml"/><Relationship Id="rId71" Type="http://schemas.openxmlformats.org/officeDocument/2006/relationships/oleObject" Target="../embeddings/oleObject29.bin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450.xml"/><Relationship Id="rId13" Type="http://schemas.openxmlformats.org/officeDocument/2006/relationships/tags" Target="../tags/tag455.xml"/><Relationship Id="rId18" Type="http://schemas.openxmlformats.org/officeDocument/2006/relationships/tags" Target="../tags/tag460.xml"/><Relationship Id="rId26" Type="http://schemas.openxmlformats.org/officeDocument/2006/relationships/slideLayout" Target="../slideLayouts/slideLayout2.xml"/><Relationship Id="rId3" Type="http://schemas.openxmlformats.org/officeDocument/2006/relationships/tags" Target="../tags/tag445.xml"/><Relationship Id="rId21" Type="http://schemas.openxmlformats.org/officeDocument/2006/relationships/tags" Target="../tags/tag463.xml"/><Relationship Id="rId7" Type="http://schemas.openxmlformats.org/officeDocument/2006/relationships/tags" Target="../tags/tag449.xml"/><Relationship Id="rId12" Type="http://schemas.openxmlformats.org/officeDocument/2006/relationships/tags" Target="../tags/tag454.xml"/><Relationship Id="rId17" Type="http://schemas.openxmlformats.org/officeDocument/2006/relationships/tags" Target="../tags/tag459.xml"/><Relationship Id="rId25" Type="http://schemas.openxmlformats.org/officeDocument/2006/relationships/tags" Target="../tags/tag467.xml"/><Relationship Id="rId2" Type="http://schemas.openxmlformats.org/officeDocument/2006/relationships/tags" Target="../tags/tag444.xml"/><Relationship Id="rId16" Type="http://schemas.openxmlformats.org/officeDocument/2006/relationships/tags" Target="../tags/tag458.xml"/><Relationship Id="rId20" Type="http://schemas.openxmlformats.org/officeDocument/2006/relationships/tags" Target="../tags/tag462.xml"/><Relationship Id="rId29" Type="http://schemas.openxmlformats.org/officeDocument/2006/relationships/chart" Target="../charts/chart17.xml"/><Relationship Id="rId1" Type="http://schemas.openxmlformats.org/officeDocument/2006/relationships/tags" Target="../tags/tag443.xml"/><Relationship Id="rId6" Type="http://schemas.openxmlformats.org/officeDocument/2006/relationships/tags" Target="../tags/tag448.xml"/><Relationship Id="rId11" Type="http://schemas.openxmlformats.org/officeDocument/2006/relationships/tags" Target="../tags/tag453.xml"/><Relationship Id="rId24" Type="http://schemas.openxmlformats.org/officeDocument/2006/relationships/tags" Target="../tags/tag466.xml"/><Relationship Id="rId5" Type="http://schemas.openxmlformats.org/officeDocument/2006/relationships/tags" Target="../tags/tag447.xml"/><Relationship Id="rId15" Type="http://schemas.openxmlformats.org/officeDocument/2006/relationships/tags" Target="../tags/tag457.xml"/><Relationship Id="rId23" Type="http://schemas.openxmlformats.org/officeDocument/2006/relationships/tags" Target="../tags/tag465.xml"/><Relationship Id="rId28" Type="http://schemas.openxmlformats.org/officeDocument/2006/relationships/image" Target="../media/image1.emf"/><Relationship Id="rId10" Type="http://schemas.openxmlformats.org/officeDocument/2006/relationships/tags" Target="../tags/tag452.xml"/><Relationship Id="rId19" Type="http://schemas.openxmlformats.org/officeDocument/2006/relationships/tags" Target="../tags/tag461.xml"/><Relationship Id="rId4" Type="http://schemas.openxmlformats.org/officeDocument/2006/relationships/tags" Target="../tags/tag446.xml"/><Relationship Id="rId9" Type="http://schemas.openxmlformats.org/officeDocument/2006/relationships/tags" Target="../tags/tag451.xml"/><Relationship Id="rId14" Type="http://schemas.openxmlformats.org/officeDocument/2006/relationships/tags" Target="../tags/tag456.xml"/><Relationship Id="rId22" Type="http://schemas.openxmlformats.org/officeDocument/2006/relationships/tags" Target="../tags/tag464.xml"/><Relationship Id="rId27" Type="http://schemas.openxmlformats.org/officeDocument/2006/relationships/oleObject" Target="../embeddings/oleObject30.bin"/><Relationship Id="rId30" Type="http://schemas.openxmlformats.org/officeDocument/2006/relationships/chart" Target="../charts/chart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s/_rels/slide30.xml.rels><?xml version="1.0" encoding="UTF-8" standalone="yes"?>
<Relationships xmlns="http://schemas.openxmlformats.org/package/2006/relationships"><Relationship Id="rId13" Type="http://schemas.openxmlformats.org/officeDocument/2006/relationships/tags" Target="../tags/tag480.xml"/><Relationship Id="rId18" Type="http://schemas.openxmlformats.org/officeDocument/2006/relationships/tags" Target="../tags/tag485.xml"/><Relationship Id="rId26" Type="http://schemas.openxmlformats.org/officeDocument/2006/relationships/tags" Target="../tags/tag493.xml"/><Relationship Id="rId39" Type="http://schemas.openxmlformats.org/officeDocument/2006/relationships/tags" Target="../tags/tag506.xml"/><Relationship Id="rId21" Type="http://schemas.openxmlformats.org/officeDocument/2006/relationships/tags" Target="../tags/tag488.xml"/><Relationship Id="rId34" Type="http://schemas.openxmlformats.org/officeDocument/2006/relationships/tags" Target="../tags/tag501.xml"/><Relationship Id="rId42" Type="http://schemas.openxmlformats.org/officeDocument/2006/relationships/tags" Target="../tags/tag509.xml"/><Relationship Id="rId47" Type="http://schemas.openxmlformats.org/officeDocument/2006/relationships/oleObject" Target="../embeddings/oleObject31.bin"/><Relationship Id="rId50" Type="http://schemas.openxmlformats.org/officeDocument/2006/relationships/chart" Target="../charts/chart20.xml"/><Relationship Id="rId7" Type="http://schemas.openxmlformats.org/officeDocument/2006/relationships/tags" Target="../tags/tag474.xml"/><Relationship Id="rId2" Type="http://schemas.openxmlformats.org/officeDocument/2006/relationships/tags" Target="../tags/tag469.xml"/><Relationship Id="rId16" Type="http://schemas.openxmlformats.org/officeDocument/2006/relationships/tags" Target="../tags/tag483.xml"/><Relationship Id="rId29" Type="http://schemas.openxmlformats.org/officeDocument/2006/relationships/tags" Target="../tags/tag496.xml"/><Relationship Id="rId11" Type="http://schemas.openxmlformats.org/officeDocument/2006/relationships/tags" Target="../tags/tag478.xml"/><Relationship Id="rId24" Type="http://schemas.openxmlformats.org/officeDocument/2006/relationships/tags" Target="../tags/tag491.xml"/><Relationship Id="rId32" Type="http://schemas.openxmlformats.org/officeDocument/2006/relationships/tags" Target="../tags/tag499.xml"/><Relationship Id="rId37" Type="http://schemas.openxmlformats.org/officeDocument/2006/relationships/tags" Target="../tags/tag504.xml"/><Relationship Id="rId40" Type="http://schemas.openxmlformats.org/officeDocument/2006/relationships/tags" Target="../tags/tag507.xml"/><Relationship Id="rId45" Type="http://schemas.openxmlformats.org/officeDocument/2006/relationships/tags" Target="../tags/tag512.xml"/><Relationship Id="rId5" Type="http://schemas.openxmlformats.org/officeDocument/2006/relationships/tags" Target="../tags/tag472.xml"/><Relationship Id="rId15" Type="http://schemas.openxmlformats.org/officeDocument/2006/relationships/tags" Target="../tags/tag482.xml"/><Relationship Id="rId23" Type="http://schemas.openxmlformats.org/officeDocument/2006/relationships/tags" Target="../tags/tag490.xml"/><Relationship Id="rId28" Type="http://schemas.openxmlformats.org/officeDocument/2006/relationships/tags" Target="../tags/tag495.xml"/><Relationship Id="rId36" Type="http://schemas.openxmlformats.org/officeDocument/2006/relationships/tags" Target="../tags/tag503.xml"/><Relationship Id="rId49" Type="http://schemas.openxmlformats.org/officeDocument/2006/relationships/chart" Target="../charts/chart19.xml"/><Relationship Id="rId10" Type="http://schemas.openxmlformats.org/officeDocument/2006/relationships/tags" Target="../tags/tag477.xml"/><Relationship Id="rId19" Type="http://schemas.openxmlformats.org/officeDocument/2006/relationships/tags" Target="../tags/tag486.xml"/><Relationship Id="rId31" Type="http://schemas.openxmlformats.org/officeDocument/2006/relationships/tags" Target="../tags/tag498.xml"/><Relationship Id="rId44" Type="http://schemas.openxmlformats.org/officeDocument/2006/relationships/tags" Target="../tags/tag511.xml"/><Relationship Id="rId4" Type="http://schemas.openxmlformats.org/officeDocument/2006/relationships/tags" Target="../tags/tag471.xml"/><Relationship Id="rId9" Type="http://schemas.openxmlformats.org/officeDocument/2006/relationships/tags" Target="../tags/tag476.xml"/><Relationship Id="rId14" Type="http://schemas.openxmlformats.org/officeDocument/2006/relationships/tags" Target="../tags/tag481.xml"/><Relationship Id="rId22" Type="http://schemas.openxmlformats.org/officeDocument/2006/relationships/tags" Target="../tags/tag489.xml"/><Relationship Id="rId27" Type="http://schemas.openxmlformats.org/officeDocument/2006/relationships/tags" Target="../tags/tag494.xml"/><Relationship Id="rId30" Type="http://schemas.openxmlformats.org/officeDocument/2006/relationships/tags" Target="../tags/tag497.xml"/><Relationship Id="rId35" Type="http://schemas.openxmlformats.org/officeDocument/2006/relationships/tags" Target="../tags/tag502.xml"/><Relationship Id="rId43" Type="http://schemas.openxmlformats.org/officeDocument/2006/relationships/tags" Target="../tags/tag510.xml"/><Relationship Id="rId48" Type="http://schemas.openxmlformats.org/officeDocument/2006/relationships/image" Target="../media/image1.emf"/><Relationship Id="rId8" Type="http://schemas.openxmlformats.org/officeDocument/2006/relationships/tags" Target="../tags/tag475.xml"/><Relationship Id="rId3" Type="http://schemas.openxmlformats.org/officeDocument/2006/relationships/tags" Target="../tags/tag470.xml"/><Relationship Id="rId12" Type="http://schemas.openxmlformats.org/officeDocument/2006/relationships/tags" Target="../tags/tag479.xml"/><Relationship Id="rId17" Type="http://schemas.openxmlformats.org/officeDocument/2006/relationships/tags" Target="../tags/tag484.xml"/><Relationship Id="rId25" Type="http://schemas.openxmlformats.org/officeDocument/2006/relationships/tags" Target="../tags/tag492.xml"/><Relationship Id="rId33" Type="http://schemas.openxmlformats.org/officeDocument/2006/relationships/tags" Target="../tags/tag500.xml"/><Relationship Id="rId38" Type="http://schemas.openxmlformats.org/officeDocument/2006/relationships/tags" Target="../tags/tag505.xml"/><Relationship Id="rId46" Type="http://schemas.openxmlformats.org/officeDocument/2006/relationships/slideLayout" Target="../slideLayouts/slideLayout2.xml"/><Relationship Id="rId20" Type="http://schemas.openxmlformats.org/officeDocument/2006/relationships/tags" Target="../tags/tag487.xml"/><Relationship Id="rId41" Type="http://schemas.openxmlformats.org/officeDocument/2006/relationships/tags" Target="../tags/tag508.xml"/><Relationship Id="rId1" Type="http://schemas.openxmlformats.org/officeDocument/2006/relationships/tags" Target="../tags/tag468.xml"/><Relationship Id="rId6" Type="http://schemas.openxmlformats.org/officeDocument/2006/relationships/tags" Target="../tags/tag473.xml"/></Relationships>
</file>

<file path=ppt/slides/_rels/slide31.xml.rels><?xml version="1.0" encoding="UTF-8" standalone="yes"?>
<Relationships xmlns="http://schemas.openxmlformats.org/package/2006/relationships"><Relationship Id="rId26" Type="http://schemas.openxmlformats.org/officeDocument/2006/relationships/tags" Target="../tags/tag538.xml"/><Relationship Id="rId21" Type="http://schemas.openxmlformats.org/officeDocument/2006/relationships/tags" Target="../tags/tag533.xml"/><Relationship Id="rId42" Type="http://schemas.openxmlformats.org/officeDocument/2006/relationships/tags" Target="../tags/tag554.xml"/><Relationship Id="rId47" Type="http://schemas.openxmlformats.org/officeDocument/2006/relationships/tags" Target="../tags/tag559.xml"/><Relationship Id="rId63" Type="http://schemas.openxmlformats.org/officeDocument/2006/relationships/tags" Target="../tags/tag575.xml"/><Relationship Id="rId68" Type="http://schemas.openxmlformats.org/officeDocument/2006/relationships/slideLayout" Target="../slideLayouts/slideLayout2.xml"/><Relationship Id="rId2" Type="http://schemas.openxmlformats.org/officeDocument/2006/relationships/tags" Target="../tags/tag514.xml"/><Relationship Id="rId16" Type="http://schemas.openxmlformats.org/officeDocument/2006/relationships/tags" Target="../tags/tag528.xml"/><Relationship Id="rId29" Type="http://schemas.openxmlformats.org/officeDocument/2006/relationships/tags" Target="../tags/tag541.xml"/><Relationship Id="rId11" Type="http://schemas.openxmlformats.org/officeDocument/2006/relationships/tags" Target="../tags/tag523.xml"/><Relationship Id="rId24" Type="http://schemas.openxmlformats.org/officeDocument/2006/relationships/tags" Target="../tags/tag536.xml"/><Relationship Id="rId32" Type="http://schemas.openxmlformats.org/officeDocument/2006/relationships/tags" Target="../tags/tag544.xml"/><Relationship Id="rId37" Type="http://schemas.openxmlformats.org/officeDocument/2006/relationships/tags" Target="../tags/tag549.xml"/><Relationship Id="rId40" Type="http://schemas.openxmlformats.org/officeDocument/2006/relationships/tags" Target="../tags/tag552.xml"/><Relationship Id="rId45" Type="http://schemas.openxmlformats.org/officeDocument/2006/relationships/tags" Target="../tags/tag557.xml"/><Relationship Id="rId53" Type="http://schemas.openxmlformats.org/officeDocument/2006/relationships/tags" Target="../tags/tag565.xml"/><Relationship Id="rId58" Type="http://schemas.openxmlformats.org/officeDocument/2006/relationships/tags" Target="../tags/tag570.xml"/><Relationship Id="rId66" Type="http://schemas.openxmlformats.org/officeDocument/2006/relationships/tags" Target="../tags/tag578.xml"/><Relationship Id="rId74" Type="http://schemas.openxmlformats.org/officeDocument/2006/relationships/chart" Target="../charts/chart24.xml"/><Relationship Id="rId5" Type="http://schemas.openxmlformats.org/officeDocument/2006/relationships/tags" Target="../tags/tag517.xml"/><Relationship Id="rId61" Type="http://schemas.openxmlformats.org/officeDocument/2006/relationships/tags" Target="../tags/tag573.xml"/><Relationship Id="rId19" Type="http://schemas.openxmlformats.org/officeDocument/2006/relationships/tags" Target="../tags/tag531.xml"/><Relationship Id="rId14" Type="http://schemas.openxmlformats.org/officeDocument/2006/relationships/tags" Target="../tags/tag526.xml"/><Relationship Id="rId22" Type="http://schemas.openxmlformats.org/officeDocument/2006/relationships/tags" Target="../tags/tag534.xml"/><Relationship Id="rId27" Type="http://schemas.openxmlformats.org/officeDocument/2006/relationships/tags" Target="../tags/tag539.xml"/><Relationship Id="rId30" Type="http://schemas.openxmlformats.org/officeDocument/2006/relationships/tags" Target="../tags/tag542.xml"/><Relationship Id="rId35" Type="http://schemas.openxmlformats.org/officeDocument/2006/relationships/tags" Target="../tags/tag547.xml"/><Relationship Id="rId43" Type="http://schemas.openxmlformats.org/officeDocument/2006/relationships/tags" Target="../tags/tag555.xml"/><Relationship Id="rId48" Type="http://schemas.openxmlformats.org/officeDocument/2006/relationships/tags" Target="../tags/tag560.xml"/><Relationship Id="rId56" Type="http://schemas.openxmlformats.org/officeDocument/2006/relationships/tags" Target="../tags/tag568.xml"/><Relationship Id="rId64" Type="http://schemas.openxmlformats.org/officeDocument/2006/relationships/tags" Target="../tags/tag576.xml"/><Relationship Id="rId69" Type="http://schemas.openxmlformats.org/officeDocument/2006/relationships/oleObject" Target="../embeddings/oleObject32.bin"/><Relationship Id="rId8" Type="http://schemas.openxmlformats.org/officeDocument/2006/relationships/tags" Target="../tags/tag520.xml"/><Relationship Id="rId51" Type="http://schemas.openxmlformats.org/officeDocument/2006/relationships/tags" Target="../tags/tag563.xml"/><Relationship Id="rId72" Type="http://schemas.openxmlformats.org/officeDocument/2006/relationships/chart" Target="../charts/chart22.xml"/><Relationship Id="rId3" Type="http://schemas.openxmlformats.org/officeDocument/2006/relationships/tags" Target="../tags/tag515.xml"/><Relationship Id="rId12" Type="http://schemas.openxmlformats.org/officeDocument/2006/relationships/tags" Target="../tags/tag524.xml"/><Relationship Id="rId17" Type="http://schemas.openxmlformats.org/officeDocument/2006/relationships/tags" Target="../tags/tag529.xml"/><Relationship Id="rId25" Type="http://schemas.openxmlformats.org/officeDocument/2006/relationships/tags" Target="../tags/tag537.xml"/><Relationship Id="rId33" Type="http://schemas.openxmlformats.org/officeDocument/2006/relationships/tags" Target="../tags/tag545.xml"/><Relationship Id="rId38" Type="http://schemas.openxmlformats.org/officeDocument/2006/relationships/tags" Target="../tags/tag550.xml"/><Relationship Id="rId46" Type="http://schemas.openxmlformats.org/officeDocument/2006/relationships/tags" Target="../tags/tag558.xml"/><Relationship Id="rId59" Type="http://schemas.openxmlformats.org/officeDocument/2006/relationships/tags" Target="../tags/tag571.xml"/><Relationship Id="rId67" Type="http://schemas.openxmlformats.org/officeDocument/2006/relationships/tags" Target="../tags/tag579.xml"/><Relationship Id="rId20" Type="http://schemas.openxmlformats.org/officeDocument/2006/relationships/tags" Target="../tags/tag532.xml"/><Relationship Id="rId41" Type="http://schemas.openxmlformats.org/officeDocument/2006/relationships/tags" Target="../tags/tag553.xml"/><Relationship Id="rId54" Type="http://schemas.openxmlformats.org/officeDocument/2006/relationships/tags" Target="../tags/tag566.xml"/><Relationship Id="rId62" Type="http://schemas.openxmlformats.org/officeDocument/2006/relationships/tags" Target="../tags/tag574.xml"/><Relationship Id="rId70" Type="http://schemas.openxmlformats.org/officeDocument/2006/relationships/image" Target="../media/image1.emf"/><Relationship Id="rId1" Type="http://schemas.openxmlformats.org/officeDocument/2006/relationships/tags" Target="../tags/tag513.xml"/><Relationship Id="rId6" Type="http://schemas.openxmlformats.org/officeDocument/2006/relationships/tags" Target="../tags/tag518.xml"/><Relationship Id="rId15" Type="http://schemas.openxmlformats.org/officeDocument/2006/relationships/tags" Target="../tags/tag527.xml"/><Relationship Id="rId23" Type="http://schemas.openxmlformats.org/officeDocument/2006/relationships/tags" Target="../tags/tag535.xml"/><Relationship Id="rId28" Type="http://schemas.openxmlformats.org/officeDocument/2006/relationships/tags" Target="../tags/tag540.xml"/><Relationship Id="rId36" Type="http://schemas.openxmlformats.org/officeDocument/2006/relationships/tags" Target="../tags/tag548.xml"/><Relationship Id="rId49" Type="http://schemas.openxmlformats.org/officeDocument/2006/relationships/tags" Target="../tags/tag561.xml"/><Relationship Id="rId57" Type="http://schemas.openxmlformats.org/officeDocument/2006/relationships/tags" Target="../tags/tag569.xml"/><Relationship Id="rId10" Type="http://schemas.openxmlformats.org/officeDocument/2006/relationships/tags" Target="../tags/tag522.xml"/><Relationship Id="rId31" Type="http://schemas.openxmlformats.org/officeDocument/2006/relationships/tags" Target="../tags/tag543.xml"/><Relationship Id="rId44" Type="http://schemas.openxmlformats.org/officeDocument/2006/relationships/tags" Target="../tags/tag556.xml"/><Relationship Id="rId52" Type="http://schemas.openxmlformats.org/officeDocument/2006/relationships/tags" Target="../tags/tag564.xml"/><Relationship Id="rId60" Type="http://schemas.openxmlformats.org/officeDocument/2006/relationships/tags" Target="../tags/tag572.xml"/><Relationship Id="rId65" Type="http://schemas.openxmlformats.org/officeDocument/2006/relationships/tags" Target="../tags/tag577.xml"/><Relationship Id="rId73" Type="http://schemas.openxmlformats.org/officeDocument/2006/relationships/chart" Target="../charts/chart23.xml"/><Relationship Id="rId4" Type="http://schemas.openxmlformats.org/officeDocument/2006/relationships/tags" Target="../tags/tag516.xml"/><Relationship Id="rId9" Type="http://schemas.openxmlformats.org/officeDocument/2006/relationships/tags" Target="../tags/tag521.xml"/><Relationship Id="rId13" Type="http://schemas.openxmlformats.org/officeDocument/2006/relationships/tags" Target="../tags/tag525.xml"/><Relationship Id="rId18" Type="http://schemas.openxmlformats.org/officeDocument/2006/relationships/tags" Target="../tags/tag530.xml"/><Relationship Id="rId39" Type="http://schemas.openxmlformats.org/officeDocument/2006/relationships/tags" Target="../tags/tag551.xml"/><Relationship Id="rId34" Type="http://schemas.openxmlformats.org/officeDocument/2006/relationships/tags" Target="../tags/tag546.xml"/><Relationship Id="rId50" Type="http://schemas.openxmlformats.org/officeDocument/2006/relationships/tags" Target="../tags/tag562.xml"/><Relationship Id="rId55" Type="http://schemas.openxmlformats.org/officeDocument/2006/relationships/tags" Target="../tags/tag567.xml"/><Relationship Id="rId7" Type="http://schemas.openxmlformats.org/officeDocument/2006/relationships/tags" Target="../tags/tag519.xml"/><Relationship Id="rId71" Type="http://schemas.openxmlformats.org/officeDocument/2006/relationships/chart" Target="../charts/chart2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80.xml"/><Relationship Id="rId4" Type="http://schemas.openxmlformats.org/officeDocument/2006/relationships/image" Target="../media/image1.emf"/></Relationships>
</file>

<file path=ppt/slides/_rels/slide33.xml.rels><?xml version="1.0" encoding="UTF-8" standalone="yes"?>
<Relationships xmlns="http://schemas.openxmlformats.org/package/2006/relationships"><Relationship Id="rId13" Type="http://schemas.openxmlformats.org/officeDocument/2006/relationships/tags" Target="../tags/tag593.xml"/><Relationship Id="rId18" Type="http://schemas.openxmlformats.org/officeDocument/2006/relationships/tags" Target="../tags/tag598.xml"/><Relationship Id="rId26" Type="http://schemas.openxmlformats.org/officeDocument/2006/relationships/tags" Target="../tags/tag606.xml"/><Relationship Id="rId39" Type="http://schemas.openxmlformats.org/officeDocument/2006/relationships/tags" Target="../tags/tag619.xml"/><Relationship Id="rId21" Type="http://schemas.openxmlformats.org/officeDocument/2006/relationships/tags" Target="../tags/tag601.xml"/><Relationship Id="rId34" Type="http://schemas.openxmlformats.org/officeDocument/2006/relationships/tags" Target="../tags/tag614.xml"/><Relationship Id="rId42" Type="http://schemas.openxmlformats.org/officeDocument/2006/relationships/tags" Target="../tags/tag622.xml"/><Relationship Id="rId47" Type="http://schemas.openxmlformats.org/officeDocument/2006/relationships/image" Target="../media/image43.jpeg"/><Relationship Id="rId50" Type="http://schemas.openxmlformats.org/officeDocument/2006/relationships/image" Target="../media/image46.jpeg"/><Relationship Id="rId55" Type="http://schemas.openxmlformats.org/officeDocument/2006/relationships/chart" Target="../charts/chart28.xml"/><Relationship Id="rId7" Type="http://schemas.openxmlformats.org/officeDocument/2006/relationships/tags" Target="../tags/tag587.xml"/><Relationship Id="rId2" Type="http://schemas.openxmlformats.org/officeDocument/2006/relationships/tags" Target="../tags/tag582.xml"/><Relationship Id="rId16" Type="http://schemas.openxmlformats.org/officeDocument/2006/relationships/tags" Target="../tags/tag596.xml"/><Relationship Id="rId29" Type="http://schemas.openxmlformats.org/officeDocument/2006/relationships/tags" Target="../tags/tag609.xml"/><Relationship Id="rId11" Type="http://schemas.openxmlformats.org/officeDocument/2006/relationships/tags" Target="../tags/tag591.xml"/><Relationship Id="rId24" Type="http://schemas.openxmlformats.org/officeDocument/2006/relationships/tags" Target="../tags/tag604.xml"/><Relationship Id="rId32" Type="http://schemas.openxmlformats.org/officeDocument/2006/relationships/tags" Target="../tags/tag612.xml"/><Relationship Id="rId37" Type="http://schemas.openxmlformats.org/officeDocument/2006/relationships/tags" Target="../tags/tag617.xml"/><Relationship Id="rId40" Type="http://schemas.openxmlformats.org/officeDocument/2006/relationships/tags" Target="../tags/tag620.xml"/><Relationship Id="rId45" Type="http://schemas.openxmlformats.org/officeDocument/2006/relationships/image" Target="../media/image1.emf"/><Relationship Id="rId53" Type="http://schemas.openxmlformats.org/officeDocument/2006/relationships/chart" Target="../charts/chart26.xml"/><Relationship Id="rId58" Type="http://schemas.openxmlformats.org/officeDocument/2006/relationships/chart" Target="../charts/chart31.xml"/><Relationship Id="rId5" Type="http://schemas.openxmlformats.org/officeDocument/2006/relationships/tags" Target="../tags/tag585.xml"/><Relationship Id="rId19" Type="http://schemas.openxmlformats.org/officeDocument/2006/relationships/tags" Target="../tags/tag599.xml"/><Relationship Id="rId4" Type="http://schemas.openxmlformats.org/officeDocument/2006/relationships/tags" Target="../tags/tag584.xml"/><Relationship Id="rId9" Type="http://schemas.openxmlformats.org/officeDocument/2006/relationships/tags" Target="../tags/tag589.xml"/><Relationship Id="rId14" Type="http://schemas.openxmlformats.org/officeDocument/2006/relationships/tags" Target="../tags/tag594.xml"/><Relationship Id="rId22" Type="http://schemas.openxmlformats.org/officeDocument/2006/relationships/tags" Target="../tags/tag602.xml"/><Relationship Id="rId27" Type="http://schemas.openxmlformats.org/officeDocument/2006/relationships/tags" Target="../tags/tag607.xml"/><Relationship Id="rId30" Type="http://schemas.openxmlformats.org/officeDocument/2006/relationships/tags" Target="../tags/tag610.xml"/><Relationship Id="rId35" Type="http://schemas.openxmlformats.org/officeDocument/2006/relationships/tags" Target="../tags/tag615.xml"/><Relationship Id="rId43" Type="http://schemas.openxmlformats.org/officeDocument/2006/relationships/slideLayout" Target="../slideLayouts/slideLayout2.xml"/><Relationship Id="rId48" Type="http://schemas.openxmlformats.org/officeDocument/2006/relationships/image" Target="../media/image44.png"/><Relationship Id="rId56" Type="http://schemas.openxmlformats.org/officeDocument/2006/relationships/chart" Target="../charts/chart29.xml"/><Relationship Id="rId8" Type="http://schemas.openxmlformats.org/officeDocument/2006/relationships/tags" Target="../tags/tag588.xml"/><Relationship Id="rId51" Type="http://schemas.openxmlformats.org/officeDocument/2006/relationships/image" Target="../media/image47.png"/><Relationship Id="rId3" Type="http://schemas.openxmlformats.org/officeDocument/2006/relationships/tags" Target="../tags/tag583.xml"/><Relationship Id="rId12" Type="http://schemas.openxmlformats.org/officeDocument/2006/relationships/tags" Target="../tags/tag592.xml"/><Relationship Id="rId17" Type="http://schemas.openxmlformats.org/officeDocument/2006/relationships/tags" Target="../tags/tag597.xml"/><Relationship Id="rId25" Type="http://schemas.openxmlformats.org/officeDocument/2006/relationships/tags" Target="../tags/tag605.xml"/><Relationship Id="rId33" Type="http://schemas.openxmlformats.org/officeDocument/2006/relationships/tags" Target="../tags/tag613.xml"/><Relationship Id="rId38" Type="http://schemas.openxmlformats.org/officeDocument/2006/relationships/tags" Target="../tags/tag618.xml"/><Relationship Id="rId46" Type="http://schemas.openxmlformats.org/officeDocument/2006/relationships/image" Target="../media/image42.jpeg"/><Relationship Id="rId20" Type="http://schemas.openxmlformats.org/officeDocument/2006/relationships/tags" Target="../tags/tag600.xml"/><Relationship Id="rId41" Type="http://schemas.openxmlformats.org/officeDocument/2006/relationships/tags" Target="../tags/tag621.xml"/><Relationship Id="rId54" Type="http://schemas.openxmlformats.org/officeDocument/2006/relationships/chart" Target="../charts/chart27.xml"/><Relationship Id="rId1" Type="http://schemas.openxmlformats.org/officeDocument/2006/relationships/tags" Target="../tags/tag581.xml"/><Relationship Id="rId6" Type="http://schemas.openxmlformats.org/officeDocument/2006/relationships/tags" Target="../tags/tag586.xml"/><Relationship Id="rId15" Type="http://schemas.openxmlformats.org/officeDocument/2006/relationships/tags" Target="../tags/tag595.xml"/><Relationship Id="rId23" Type="http://schemas.openxmlformats.org/officeDocument/2006/relationships/tags" Target="../tags/tag603.xml"/><Relationship Id="rId28" Type="http://schemas.openxmlformats.org/officeDocument/2006/relationships/tags" Target="../tags/tag608.xml"/><Relationship Id="rId36" Type="http://schemas.openxmlformats.org/officeDocument/2006/relationships/tags" Target="../tags/tag616.xml"/><Relationship Id="rId49" Type="http://schemas.openxmlformats.org/officeDocument/2006/relationships/image" Target="../media/image45.png"/><Relationship Id="rId57" Type="http://schemas.openxmlformats.org/officeDocument/2006/relationships/chart" Target="../charts/chart30.xml"/><Relationship Id="rId10" Type="http://schemas.openxmlformats.org/officeDocument/2006/relationships/tags" Target="../tags/tag590.xml"/><Relationship Id="rId31" Type="http://schemas.openxmlformats.org/officeDocument/2006/relationships/tags" Target="../tags/tag611.xml"/><Relationship Id="rId44" Type="http://schemas.openxmlformats.org/officeDocument/2006/relationships/oleObject" Target="../embeddings/oleObject34.bin"/><Relationship Id="rId52" Type="http://schemas.openxmlformats.org/officeDocument/2006/relationships/chart" Target="../charts/chart25.xml"/></Relationships>
</file>

<file path=ppt/slides/_rels/slide34.xml.rels><?xml version="1.0" encoding="UTF-8" standalone="yes"?>
<Relationships xmlns="http://schemas.openxmlformats.org/package/2006/relationships"><Relationship Id="rId117" Type="http://schemas.openxmlformats.org/officeDocument/2006/relationships/tags" Target="../tags/tag739.xml"/><Relationship Id="rId21" Type="http://schemas.openxmlformats.org/officeDocument/2006/relationships/tags" Target="../tags/tag643.xml"/><Relationship Id="rId42" Type="http://schemas.openxmlformats.org/officeDocument/2006/relationships/tags" Target="../tags/tag664.xml"/><Relationship Id="rId63" Type="http://schemas.openxmlformats.org/officeDocument/2006/relationships/tags" Target="../tags/tag685.xml"/><Relationship Id="rId84" Type="http://schemas.openxmlformats.org/officeDocument/2006/relationships/tags" Target="../tags/tag706.xml"/><Relationship Id="rId16" Type="http://schemas.openxmlformats.org/officeDocument/2006/relationships/tags" Target="../tags/tag638.xml"/><Relationship Id="rId107" Type="http://schemas.openxmlformats.org/officeDocument/2006/relationships/tags" Target="../tags/tag729.xml"/><Relationship Id="rId11" Type="http://schemas.openxmlformats.org/officeDocument/2006/relationships/tags" Target="../tags/tag633.xml"/><Relationship Id="rId32" Type="http://schemas.openxmlformats.org/officeDocument/2006/relationships/tags" Target="../tags/tag654.xml"/><Relationship Id="rId37" Type="http://schemas.openxmlformats.org/officeDocument/2006/relationships/tags" Target="../tags/tag659.xml"/><Relationship Id="rId53" Type="http://schemas.openxmlformats.org/officeDocument/2006/relationships/tags" Target="../tags/tag675.xml"/><Relationship Id="rId58" Type="http://schemas.openxmlformats.org/officeDocument/2006/relationships/tags" Target="../tags/tag680.xml"/><Relationship Id="rId74" Type="http://schemas.openxmlformats.org/officeDocument/2006/relationships/tags" Target="../tags/tag696.xml"/><Relationship Id="rId79" Type="http://schemas.openxmlformats.org/officeDocument/2006/relationships/tags" Target="../tags/tag701.xml"/><Relationship Id="rId102" Type="http://schemas.openxmlformats.org/officeDocument/2006/relationships/tags" Target="../tags/tag724.xml"/><Relationship Id="rId123" Type="http://schemas.openxmlformats.org/officeDocument/2006/relationships/slideLayout" Target="../slideLayouts/slideLayout2.xml"/><Relationship Id="rId128" Type="http://schemas.openxmlformats.org/officeDocument/2006/relationships/image" Target="../media/image44.png"/><Relationship Id="rId5" Type="http://schemas.openxmlformats.org/officeDocument/2006/relationships/tags" Target="../tags/tag627.xml"/><Relationship Id="rId90" Type="http://schemas.openxmlformats.org/officeDocument/2006/relationships/tags" Target="../tags/tag712.xml"/><Relationship Id="rId95" Type="http://schemas.openxmlformats.org/officeDocument/2006/relationships/tags" Target="../tags/tag717.xml"/><Relationship Id="rId22" Type="http://schemas.openxmlformats.org/officeDocument/2006/relationships/tags" Target="../tags/tag644.xml"/><Relationship Id="rId27" Type="http://schemas.openxmlformats.org/officeDocument/2006/relationships/tags" Target="../tags/tag649.xml"/><Relationship Id="rId43" Type="http://schemas.openxmlformats.org/officeDocument/2006/relationships/tags" Target="../tags/tag665.xml"/><Relationship Id="rId48" Type="http://schemas.openxmlformats.org/officeDocument/2006/relationships/tags" Target="../tags/tag670.xml"/><Relationship Id="rId64" Type="http://schemas.openxmlformats.org/officeDocument/2006/relationships/tags" Target="../tags/tag686.xml"/><Relationship Id="rId69" Type="http://schemas.openxmlformats.org/officeDocument/2006/relationships/tags" Target="../tags/tag691.xml"/><Relationship Id="rId113" Type="http://schemas.openxmlformats.org/officeDocument/2006/relationships/tags" Target="../tags/tag735.xml"/><Relationship Id="rId118" Type="http://schemas.openxmlformats.org/officeDocument/2006/relationships/tags" Target="../tags/tag740.xml"/><Relationship Id="rId134" Type="http://schemas.openxmlformats.org/officeDocument/2006/relationships/chart" Target="../charts/chart36.xml"/><Relationship Id="rId80" Type="http://schemas.openxmlformats.org/officeDocument/2006/relationships/tags" Target="../tags/tag702.xml"/><Relationship Id="rId85" Type="http://schemas.openxmlformats.org/officeDocument/2006/relationships/tags" Target="../tags/tag707.xml"/><Relationship Id="rId12" Type="http://schemas.openxmlformats.org/officeDocument/2006/relationships/tags" Target="../tags/tag634.xml"/><Relationship Id="rId17" Type="http://schemas.openxmlformats.org/officeDocument/2006/relationships/tags" Target="../tags/tag639.xml"/><Relationship Id="rId33" Type="http://schemas.openxmlformats.org/officeDocument/2006/relationships/tags" Target="../tags/tag655.xml"/><Relationship Id="rId38" Type="http://schemas.openxmlformats.org/officeDocument/2006/relationships/tags" Target="../tags/tag660.xml"/><Relationship Id="rId59" Type="http://schemas.openxmlformats.org/officeDocument/2006/relationships/tags" Target="../tags/tag681.xml"/><Relationship Id="rId103" Type="http://schemas.openxmlformats.org/officeDocument/2006/relationships/tags" Target="../tags/tag725.xml"/><Relationship Id="rId108" Type="http://schemas.openxmlformats.org/officeDocument/2006/relationships/tags" Target="../tags/tag730.xml"/><Relationship Id="rId124" Type="http://schemas.openxmlformats.org/officeDocument/2006/relationships/oleObject" Target="../embeddings/oleObject35.bin"/><Relationship Id="rId129" Type="http://schemas.openxmlformats.org/officeDocument/2006/relationships/image" Target="../media/image45.png"/><Relationship Id="rId54" Type="http://schemas.openxmlformats.org/officeDocument/2006/relationships/tags" Target="../tags/tag676.xml"/><Relationship Id="rId70" Type="http://schemas.openxmlformats.org/officeDocument/2006/relationships/tags" Target="../tags/tag692.xml"/><Relationship Id="rId75" Type="http://schemas.openxmlformats.org/officeDocument/2006/relationships/tags" Target="../tags/tag697.xml"/><Relationship Id="rId91" Type="http://schemas.openxmlformats.org/officeDocument/2006/relationships/tags" Target="../tags/tag713.xml"/><Relationship Id="rId96" Type="http://schemas.openxmlformats.org/officeDocument/2006/relationships/tags" Target="../tags/tag718.xml"/><Relationship Id="rId1" Type="http://schemas.openxmlformats.org/officeDocument/2006/relationships/tags" Target="../tags/tag623.xml"/><Relationship Id="rId6" Type="http://schemas.openxmlformats.org/officeDocument/2006/relationships/tags" Target="../tags/tag628.xml"/><Relationship Id="rId23" Type="http://schemas.openxmlformats.org/officeDocument/2006/relationships/tags" Target="../tags/tag645.xml"/><Relationship Id="rId28" Type="http://schemas.openxmlformats.org/officeDocument/2006/relationships/tags" Target="../tags/tag650.xml"/><Relationship Id="rId49" Type="http://schemas.openxmlformats.org/officeDocument/2006/relationships/tags" Target="../tags/tag671.xml"/><Relationship Id="rId114" Type="http://schemas.openxmlformats.org/officeDocument/2006/relationships/tags" Target="../tags/tag736.xml"/><Relationship Id="rId119" Type="http://schemas.openxmlformats.org/officeDocument/2006/relationships/tags" Target="../tags/tag741.xml"/><Relationship Id="rId44" Type="http://schemas.openxmlformats.org/officeDocument/2006/relationships/tags" Target="../tags/tag666.xml"/><Relationship Id="rId60" Type="http://schemas.openxmlformats.org/officeDocument/2006/relationships/tags" Target="../tags/tag682.xml"/><Relationship Id="rId65" Type="http://schemas.openxmlformats.org/officeDocument/2006/relationships/tags" Target="../tags/tag687.xml"/><Relationship Id="rId81" Type="http://schemas.openxmlformats.org/officeDocument/2006/relationships/tags" Target="../tags/tag703.xml"/><Relationship Id="rId86" Type="http://schemas.openxmlformats.org/officeDocument/2006/relationships/tags" Target="../tags/tag708.xml"/><Relationship Id="rId130" Type="http://schemas.openxmlformats.org/officeDocument/2006/relationships/chart" Target="../charts/chart32.xml"/><Relationship Id="rId135" Type="http://schemas.openxmlformats.org/officeDocument/2006/relationships/image" Target="../media/image46.jpeg"/><Relationship Id="rId13" Type="http://schemas.openxmlformats.org/officeDocument/2006/relationships/tags" Target="../tags/tag635.xml"/><Relationship Id="rId18" Type="http://schemas.openxmlformats.org/officeDocument/2006/relationships/tags" Target="../tags/tag640.xml"/><Relationship Id="rId39" Type="http://schemas.openxmlformats.org/officeDocument/2006/relationships/tags" Target="../tags/tag661.xml"/><Relationship Id="rId109" Type="http://schemas.openxmlformats.org/officeDocument/2006/relationships/tags" Target="../tags/tag731.xml"/><Relationship Id="rId34" Type="http://schemas.openxmlformats.org/officeDocument/2006/relationships/tags" Target="../tags/tag656.xml"/><Relationship Id="rId50" Type="http://schemas.openxmlformats.org/officeDocument/2006/relationships/tags" Target="../tags/tag672.xml"/><Relationship Id="rId55" Type="http://schemas.openxmlformats.org/officeDocument/2006/relationships/tags" Target="../tags/tag677.xml"/><Relationship Id="rId76" Type="http://schemas.openxmlformats.org/officeDocument/2006/relationships/tags" Target="../tags/tag698.xml"/><Relationship Id="rId97" Type="http://schemas.openxmlformats.org/officeDocument/2006/relationships/tags" Target="../tags/tag719.xml"/><Relationship Id="rId104" Type="http://schemas.openxmlformats.org/officeDocument/2006/relationships/tags" Target="../tags/tag726.xml"/><Relationship Id="rId120" Type="http://schemas.openxmlformats.org/officeDocument/2006/relationships/tags" Target="../tags/tag742.xml"/><Relationship Id="rId125" Type="http://schemas.openxmlformats.org/officeDocument/2006/relationships/image" Target="../media/image1.emf"/><Relationship Id="rId7" Type="http://schemas.openxmlformats.org/officeDocument/2006/relationships/tags" Target="../tags/tag629.xml"/><Relationship Id="rId71" Type="http://schemas.openxmlformats.org/officeDocument/2006/relationships/tags" Target="../tags/tag693.xml"/><Relationship Id="rId92" Type="http://schemas.openxmlformats.org/officeDocument/2006/relationships/tags" Target="../tags/tag714.xml"/><Relationship Id="rId2" Type="http://schemas.openxmlformats.org/officeDocument/2006/relationships/tags" Target="../tags/tag624.xml"/><Relationship Id="rId29" Type="http://schemas.openxmlformats.org/officeDocument/2006/relationships/tags" Target="../tags/tag651.xml"/><Relationship Id="rId24" Type="http://schemas.openxmlformats.org/officeDocument/2006/relationships/tags" Target="../tags/tag646.xml"/><Relationship Id="rId40" Type="http://schemas.openxmlformats.org/officeDocument/2006/relationships/tags" Target="../tags/tag662.xml"/><Relationship Id="rId45" Type="http://schemas.openxmlformats.org/officeDocument/2006/relationships/tags" Target="../tags/tag667.xml"/><Relationship Id="rId66" Type="http://schemas.openxmlformats.org/officeDocument/2006/relationships/tags" Target="../tags/tag688.xml"/><Relationship Id="rId87" Type="http://schemas.openxmlformats.org/officeDocument/2006/relationships/tags" Target="../tags/tag709.xml"/><Relationship Id="rId110" Type="http://schemas.openxmlformats.org/officeDocument/2006/relationships/tags" Target="../tags/tag732.xml"/><Relationship Id="rId115" Type="http://schemas.openxmlformats.org/officeDocument/2006/relationships/tags" Target="../tags/tag737.xml"/><Relationship Id="rId131" Type="http://schemas.openxmlformats.org/officeDocument/2006/relationships/chart" Target="../charts/chart33.xml"/><Relationship Id="rId136" Type="http://schemas.openxmlformats.org/officeDocument/2006/relationships/chart" Target="../charts/chart37.xml"/><Relationship Id="rId61" Type="http://schemas.openxmlformats.org/officeDocument/2006/relationships/tags" Target="../tags/tag683.xml"/><Relationship Id="rId82" Type="http://schemas.openxmlformats.org/officeDocument/2006/relationships/tags" Target="../tags/tag704.xml"/><Relationship Id="rId19" Type="http://schemas.openxmlformats.org/officeDocument/2006/relationships/tags" Target="../tags/tag641.xml"/><Relationship Id="rId14" Type="http://schemas.openxmlformats.org/officeDocument/2006/relationships/tags" Target="../tags/tag636.xml"/><Relationship Id="rId30" Type="http://schemas.openxmlformats.org/officeDocument/2006/relationships/tags" Target="../tags/tag652.xml"/><Relationship Id="rId35" Type="http://schemas.openxmlformats.org/officeDocument/2006/relationships/tags" Target="../tags/tag657.xml"/><Relationship Id="rId56" Type="http://schemas.openxmlformats.org/officeDocument/2006/relationships/tags" Target="../tags/tag678.xml"/><Relationship Id="rId77" Type="http://schemas.openxmlformats.org/officeDocument/2006/relationships/tags" Target="../tags/tag699.xml"/><Relationship Id="rId100" Type="http://schemas.openxmlformats.org/officeDocument/2006/relationships/tags" Target="../tags/tag722.xml"/><Relationship Id="rId105" Type="http://schemas.openxmlformats.org/officeDocument/2006/relationships/tags" Target="../tags/tag727.xml"/><Relationship Id="rId126" Type="http://schemas.openxmlformats.org/officeDocument/2006/relationships/image" Target="../media/image42.jpeg"/><Relationship Id="rId8" Type="http://schemas.openxmlformats.org/officeDocument/2006/relationships/tags" Target="../tags/tag630.xml"/><Relationship Id="rId51" Type="http://schemas.openxmlformats.org/officeDocument/2006/relationships/tags" Target="../tags/tag673.xml"/><Relationship Id="rId72" Type="http://schemas.openxmlformats.org/officeDocument/2006/relationships/tags" Target="../tags/tag694.xml"/><Relationship Id="rId93" Type="http://schemas.openxmlformats.org/officeDocument/2006/relationships/tags" Target="../tags/tag715.xml"/><Relationship Id="rId98" Type="http://schemas.openxmlformats.org/officeDocument/2006/relationships/tags" Target="../tags/tag720.xml"/><Relationship Id="rId121" Type="http://schemas.openxmlformats.org/officeDocument/2006/relationships/tags" Target="../tags/tag743.xml"/><Relationship Id="rId3" Type="http://schemas.openxmlformats.org/officeDocument/2006/relationships/tags" Target="../tags/tag625.xml"/><Relationship Id="rId25" Type="http://schemas.openxmlformats.org/officeDocument/2006/relationships/tags" Target="../tags/tag647.xml"/><Relationship Id="rId46" Type="http://schemas.openxmlformats.org/officeDocument/2006/relationships/tags" Target="../tags/tag668.xml"/><Relationship Id="rId67" Type="http://schemas.openxmlformats.org/officeDocument/2006/relationships/tags" Target="../tags/tag689.xml"/><Relationship Id="rId116" Type="http://schemas.openxmlformats.org/officeDocument/2006/relationships/tags" Target="../tags/tag738.xml"/><Relationship Id="rId137" Type="http://schemas.openxmlformats.org/officeDocument/2006/relationships/image" Target="../media/image49.png"/><Relationship Id="rId20" Type="http://schemas.openxmlformats.org/officeDocument/2006/relationships/tags" Target="../tags/tag642.xml"/><Relationship Id="rId41" Type="http://schemas.openxmlformats.org/officeDocument/2006/relationships/tags" Target="../tags/tag663.xml"/><Relationship Id="rId62" Type="http://schemas.openxmlformats.org/officeDocument/2006/relationships/tags" Target="../tags/tag684.xml"/><Relationship Id="rId83" Type="http://schemas.openxmlformats.org/officeDocument/2006/relationships/tags" Target="../tags/tag705.xml"/><Relationship Id="rId88" Type="http://schemas.openxmlformats.org/officeDocument/2006/relationships/tags" Target="../tags/tag710.xml"/><Relationship Id="rId111" Type="http://schemas.openxmlformats.org/officeDocument/2006/relationships/tags" Target="../tags/tag733.xml"/><Relationship Id="rId132" Type="http://schemas.openxmlformats.org/officeDocument/2006/relationships/chart" Target="../charts/chart34.xml"/><Relationship Id="rId15" Type="http://schemas.openxmlformats.org/officeDocument/2006/relationships/tags" Target="../tags/tag637.xml"/><Relationship Id="rId36" Type="http://schemas.openxmlformats.org/officeDocument/2006/relationships/tags" Target="../tags/tag658.xml"/><Relationship Id="rId57" Type="http://schemas.openxmlformats.org/officeDocument/2006/relationships/tags" Target="../tags/tag679.xml"/><Relationship Id="rId106" Type="http://schemas.openxmlformats.org/officeDocument/2006/relationships/tags" Target="../tags/tag728.xml"/><Relationship Id="rId127" Type="http://schemas.openxmlformats.org/officeDocument/2006/relationships/image" Target="../media/image48.jpeg"/><Relationship Id="rId10" Type="http://schemas.openxmlformats.org/officeDocument/2006/relationships/tags" Target="../tags/tag632.xml"/><Relationship Id="rId31" Type="http://schemas.openxmlformats.org/officeDocument/2006/relationships/tags" Target="../tags/tag653.xml"/><Relationship Id="rId52" Type="http://schemas.openxmlformats.org/officeDocument/2006/relationships/tags" Target="../tags/tag674.xml"/><Relationship Id="rId73" Type="http://schemas.openxmlformats.org/officeDocument/2006/relationships/tags" Target="../tags/tag695.xml"/><Relationship Id="rId78" Type="http://schemas.openxmlformats.org/officeDocument/2006/relationships/tags" Target="../tags/tag700.xml"/><Relationship Id="rId94" Type="http://schemas.openxmlformats.org/officeDocument/2006/relationships/tags" Target="../tags/tag716.xml"/><Relationship Id="rId99" Type="http://schemas.openxmlformats.org/officeDocument/2006/relationships/tags" Target="../tags/tag721.xml"/><Relationship Id="rId101" Type="http://schemas.openxmlformats.org/officeDocument/2006/relationships/tags" Target="../tags/tag723.xml"/><Relationship Id="rId122" Type="http://schemas.openxmlformats.org/officeDocument/2006/relationships/tags" Target="../tags/tag744.xml"/><Relationship Id="rId4" Type="http://schemas.openxmlformats.org/officeDocument/2006/relationships/tags" Target="../tags/tag626.xml"/><Relationship Id="rId9" Type="http://schemas.openxmlformats.org/officeDocument/2006/relationships/tags" Target="../tags/tag631.xml"/><Relationship Id="rId26" Type="http://schemas.openxmlformats.org/officeDocument/2006/relationships/tags" Target="../tags/tag648.xml"/><Relationship Id="rId47" Type="http://schemas.openxmlformats.org/officeDocument/2006/relationships/tags" Target="../tags/tag669.xml"/><Relationship Id="rId68" Type="http://schemas.openxmlformats.org/officeDocument/2006/relationships/tags" Target="../tags/tag690.xml"/><Relationship Id="rId89" Type="http://schemas.openxmlformats.org/officeDocument/2006/relationships/tags" Target="../tags/tag711.xml"/><Relationship Id="rId112" Type="http://schemas.openxmlformats.org/officeDocument/2006/relationships/tags" Target="../tags/tag734.xml"/><Relationship Id="rId133" Type="http://schemas.openxmlformats.org/officeDocument/2006/relationships/chart" Target="../charts/chart35.xml"/></Relationships>
</file>

<file path=ppt/slides/_rels/slide35.xml.rels><?xml version="1.0" encoding="UTF-8" standalone="yes"?>
<Relationships xmlns="http://schemas.openxmlformats.org/package/2006/relationships"><Relationship Id="rId117" Type="http://schemas.openxmlformats.org/officeDocument/2006/relationships/tags" Target="../tags/tag861.xml"/><Relationship Id="rId21" Type="http://schemas.openxmlformats.org/officeDocument/2006/relationships/tags" Target="../tags/tag765.xml"/><Relationship Id="rId42" Type="http://schemas.openxmlformats.org/officeDocument/2006/relationships/tags" Target="../tags/tag786.xml"/><Relationship Id="rId63" Type="http://schemas.openxmlformats.org/officeDocument/2006/relationships/tags" Target="../tags/tag807.xml"/><Relationship Id="rId84" Type="http://schemas.openxmlformats.org/officeDocument/2006/relationships/tags" Target="../tags/tag828.xml"/><Relationship Id="rId138" Type="http://schemas.openxmlformats.org/officeDocument/2006/relationships/image" Target="../media/image45.png"/><Relationship Id="rId107" Type="http://schemas.openxmlformats.org/officeDocument/2006/relationships/tags" Target="../tags/tag851.xml"/><Relationship Id="rId11" Type="http://schemas.openxmlformats.org/officeDocument/2006/relationships/tags" Target="../tags/tag755.xml"/><Relationship Id="rId32" Type="http://schemas.openxmlformats.org/officeDocument/2006/relationships/tags" Target="../tags/tag776.xml"/><Relationship Id="rId53" Type="http://schemas.openxmlformats.org/officeDocument/2006/relationships/tags" Target="../tags/tag797.xml"/><Relationship Id="rId74" Type="http://schemas.openxmlformats.org/officeDocument/2006/relationships/tags" Target="../tags/tag818.xml"/><Relationship Id="rId128" Type="http://schemas.openxmlformats.org/officeDocument/2006/relationships/tags" Target="../tags/tag872.xml"/><Relationship Id="rId5" Type="http://schemas.openxmlformats.org/officeDocument/2006/relationships/tags" Target="../tags/tag749.xml"/><Relationship Id="rId90" Type="http://schemas.openxmlformats.org/officeDocument/2006/relationships/tags" Target="../tags/tag834.xml"/><Relationship Id="rId95" Type="http://schemas.openxmlformats.org/officeDocument/2006/relationships/tags" Target="../tags/tag839.xml"/><Relationship Id="rId22" Type="http://schemas.openxmlformats.org/officeDocument/2006/relationships/tags" Target="../tags/tag766.xml"/><Relationship Id="rId27" Type="http://schemas.openxmlformats.org/officeDocument/2006/relationships/tags" Target="../tags/tag771.xml"/><Relationship Id="rId43" Type="http://schemas.openxmlformats.org/officeDocument/2006/relationships/tags" Target="../tags/tag787.xml"/><Relationship Id="rId48" Type="http://schemas.openxmlformats.org/officeDocument/2006/relationships/tags" Target="../tags/tag792.xml"/><Relationship Id="rId64" Type="http://schemas.openxmlformats.org/officeDocument/2006/relationships/tags" Target="../tags/tag808.xml"/><Relationship Id="rId69" Type="http://schemas.openxmlformats.org/officeDocument/2006/relationships/tags" Target="../tags/tag813.xml"/><Relationship Id="rId113" Type="http://schemas.openxmlformats.org/officeDocument/2006/relationships/tags" Target="../tags/tag857.xml"/><Relationship Id="rId118" Type="http://schemas.openxmlformats.org/officeDocument/2006/relationships/tags" Target="../tags/tag862.xml"/><Relationship Id="rId134" Type="http://schemas.openxmlformats.org/officeDocument/2006/relationships/image" Target="../media/image1.emf"/><Relationship Id="rId139" Type="http://schemas.openxmlformats.org/officeDocument/2006/relationships/chart" Target="../charts/chart38.xml"/><Relationship Id="rId80" Type="http://schemas.openxmlformats.org/officeDocument/2006/relationships/tags" Target="../tags/tag824.xml"/><Relationship Id="rId85" Type="http://schemas.openxmlformats.org/officeDocument/2006/relationships/tags" Target="../tags/tag829.xml"/><Relationship Id="rId12" Type="http://schemas.openxmlformats.org/officeDocument/2006/relationships/tags" Target="../tags/tag756.xml"/><Relationship Id="rId17" Type="http://schemas.openxmlformats.org/officeDocument/2006/relationships/tags" Target="../tags/tag761.xml"/><Relationship Id="rId33" Type="http://schemas.openxmlformats.org/officeDocument/2006/relationships/tags" Target="../tags/tag777.xml"/><Relationship Id="rId38" Type="http://schemas.openxmlformats.org/officeDocument/2006/relationships/tags" Target="../tags/tag782.xml"/><Relationship Id="rId59" Type="http://schemas.openxmlformats.org/officeDocument/2006/relationships/tags" Target="../tags/tag803.xml"/><Relationship Id="rId103" Type="http://schemas.openxmlformats.org/officeDocument/2006/relationships/tags" Target="../tags/tag847.xml"/><Relationship Id="rId108" Type="http://schemas.openxmlformats.org/officeDocument/2006/relationships/tags" Target="../tags/tag852.xml"/><Relationship Id="rId124" Type="http://schemas.openxmlformats.org/officeDocument/2006/relationships/tags" Target="../tags/tag868.xml"/><Relationship Id="rId129" Type="http://schemas.openxmlformats.org/officeDocument/2006/relationships/tags" Target="../tags/tag873.xml"/><Relationship Id="rId54" Type="http://schemas.openxmlformats.org/officeDocument/2006/relationships/tags" Target="../tags/tag798.xml"/><Relationship Id="rId70" Type="http://schemas.openxmlformats.org/officeDocument/2006/relationships/tags" Target="../tags/tag814.xml"/><Relationship Id="rId75" Type="http://schemas.openxmlformats.org/officeDocument/2006/relationships/tags" Target="../tags/tag819.xml"/><Relationship Id="rId91" Type="http://schemas.openxmlformats.org/officeDocument/2006/relationships/tags" Target="../tags/tag835.xml"/><Relationship Id="rId96" Type="http://schemas.openxmlformats.org/officeDocument/2006/relationships/tags" Target="../tags/tag840.xml"/><Relationship Id="rId140" Type="http://schemas.openxmlformats.org/officeDocument/2006/relationships/chart" Target="../charts/chart39.xml"/><Relationship Id="rId145" Type="http://schemas.openxmlformats.org/officeDocument/2006/relationships/chart" Target="../charts/chart43.xml"/><Relationship Id="rId1" Type="http://schemas.openxmlformats.org/officeDocument/2006/relationships/tags" Target="../tags/tag745.xml"/><Relationship Id="rId6" Type="http://schemas.openxmlformats.org/officeDocument/2006/relationships/tags" Target="../tags/tag750.xml"/><Relationship Id="rId23" Type="http://schemas.openxmlformats.org/officeDocument/2006/relationships/tags" Target="../tags/tag767.xml"/><Relationship Id="rId28" Type="http://schemas.openxmlformats.org/officeDocument/2006/relationships/tags" Target="../tags/tag772.xml"/><Relationship Id="rId49" Type="http://schemas.openxmlformats.org/officeDocument/2006/relationships/tags" Target="../tags/tag793.xml"/><Relationship Id="rId114" Type="http://schemas.openxmlformats.org/officeDocument/2006/relationships/tags" Target="../tags/tag858.xml"/><Relationship Id="rId119" Type="http://schemas.openxmlformats.org/officeDocument/2006/relationships/tags" Target="../tags/tag863.xml"/><Relationship Id="rId44" Type="http://schemas.openxmlformats.org/officeDocument/2006/relationships/tags" Target="../tags/tag788.xml"/><Relationship Id="rId60" Type="http://schemas.openxmlformats.org/officeDocument/2006/relationships/tags" Target="../tags/tag804.xml"/><Relationship Id="rId65" Type="http://schemas.openxmlformats.org/officeDocument/2006/relationships/tags" Target="../tags/tag809.xml"/><Relationship Id="rId81" Type="http://schemas.openxmlformats.org/officeDocument/2006/relationships/tags" Target="../tags/tag825.xml"/><Relationship Id="rId86" Type="http://schemas.openxmlformats.org/officeDocument/2006/relationships/tags" Target="../tags/tag830.xml"/><Relationship Id="rId130" Type="http://schemas.openxmlformats.org/officeDocument/2006/relationships/tags" Target="../tags/tag874.xml"/><Relationship Id="rId135" Type="http://schemas.openxmlformats.org/officeDocument/2006/relationships/image" Target="../media/image42.jpeg"/><Relationship Id="rId13" Type="http://schemas.openxmlformats.org/officeDocument/2006/relationships/tags" Target="../tags/tag757.xml"/><Relationship Id="rId18" Type="http://schemas.openxmlformats.org/officeDocument/2006/relationships/tags" Target="../tags/tag762.xml"/><Relationship Id="rId39" Type="http://schemas.openxmlformats.org/officeDocument/2006/relationships/tags" Target="../tags/tag783.xml"/><Relationship Id="rId109" Type="http://schemas.openxmlformats.org/officeDocument/2006/relationships/tags" Target="../tags/tag853.xml"/><Relationship Id="rId34" Type="http://schemas.openxmlformats.org/officeDocument/2006/relationships/tags" Target="../tags/tag778.xml"/><Relationship Id="rId50" Type="http://schemas.openxmlformats.org/officeDocument/2006/relationships/tags" Target="../tags/tag794.xml"/><Relationship Id="rId55" Type="http://schemas.openxmlformats.org/officeDocument/2006/relationships/tags" Target="../tags/tag799.xml"/><Relationship Id="rId76" Type="http://schemas.openxmlformats.org/officeDocument/2006/relationships/tags" Target="../tags/tag820.xml"/><Relationship Id="rId97" Type="http://schemas.openxmlformats.org/officeDocument/2006/relationships/tags" Target="../tags/tag841.xml"/><Relationship Id="rId104" Type="http://schemas.openxmlformats.org/officeDocument/2006/relationships/tags" Target="../tags/tag848.xml"/><Relationship Id="rId120" Type="http://schemas.openxmlformats.org/officeDocument/2006/relationships/tags" Target="../tags/tag864.xml"/><Relationship Id="rId125" Type="http://schemas.openxmlformats.org/officeDocument/2006/relationships/tags" Target="../tags/tag869.xml"/><Relationship Id="rId141" Type="http://schemas.openxmlformats.org/officeDocument/2006/relationships/chart" Target="../charts/chart40.xml"/><Relationship Id="rId146" Type="http://schemas.openxmlformats.org/officeDocument/2006/relationships/image" Target="../media/image49.png"/><Relationship Id="rId7" Type="http://schemas.openxmlformats.org/officeDocument/2006/relationships/tags" Target="../tags/tag751.xml"/><Relationship Id="rId71" Type="http://schemas.openxmlformats.org/officeDocument/2006/relationships/tags" Target="../tags/tag815.xml"/><Relationship Id="rId92" Type="http://schemas.openxmlformats.org/officeDocument/2006/relationships/tags" Target="../tags/tag836.xml"/><Relationship Id="rId2" Type="http://schemas.openxmlformats.org/officeDocument/2006/relationships/tags" Target="../tags/tag746.xml"/><Relationship Id="rId29" Type="http://schemas.openxmlformats.org/officeDocument/2006/relationships/tags" Target="../tags/tag773.xml"/><Relationship Id="rId24" Type="http://schemas.openxmlformats.org/officeDocument/2006/relationships/tags" Target="../tags/tag768.xml"/><Relationship Id="rId40" Type="http://schemas.openxmlformats.org/officeDocument/2006/relationships/tags" Target="../tags/tag784.xml"/><Relationship Id="rId45" Type="http://schemas.openxmlformats.org/officeDocument/2006/relationships/tags" Target="../tags/tag789.xml"/><Relationship Id="rId66" Type="http://schemas.openxmlformats.org/officeDocument/2006/relationships/tags" Target="../tags/tag810.xml"/><Relationship Id="rId87" Type="http://schemas.openxmlformats.org/officeDocument/2006/relationships/tags" Target="../tags/tag831.xml"/><Relationship Id="rId110" Type="http://schemas.openxmlformats.org/officeDocument/2006/relationships/tags" Target="../tags/tag854.xml"/><Relationship Id="rId115" Type="http://schemas.openxmlformats.org/officeDocument/2006/relationships/tags" Target="../tags/tag859.xml"/><Relationship Id="rId131" Type="http://schemas.openxmlformats.org/officeDocument/2006/relationships/tags" Target="../tags/tag875.xml"/><Relationship Id="rId136" Type="http://schemas.openxmlformats.org/officeDocument/2006/relationships/image" Target="../media/image48.jpeg"/><Relationship Id="rId61" Type="http://schemas.openxmlformats.org/officeDocument/2006/relationships/tags" Target="../tags/tag805.xml"/><Relationship Id="rId82" Type="http://schemas.openxmlformats.org/officeDocument/2006/relationships/tags" Target="../tags/tag826.xml"/><Relationship Id="rId19" Type="http://schemas.openxmlformats.org/officeDocument/2006/relationships/tags" Target="../tags/tag763.xml"/><Relationship Id="rId14" Type="http://schemas.openxmlformats.org/officeDocument/2006/relationships/tags" Target="../tags/tag758.xml"/><Relationship Id="rId30" Type="http://schemas.openxmlformats.org/officeDocument/2006/relationships/tags" Target="../tags/tag774.xml"/><Relationship Id="rId35" Type="http://schemas.openxmlformats.org/officeDocument/2006/relationships/tags" Target="../tags/tag779.xml"/><Relationship Id="rId56" Type="http://schemas.openxmlformats.org/officeDocument/2006/relationships/tags" Target="../tags/tag800.xml"/><Relationship Id="rId77" Type="http://schemas.openxmlformats.org/officeDocument/2006/relationships/tags" Target="../tags/tag821.xml"/><Relationship Id="rId100" Type="http://schemas.openxmlformats.org/officeDocument/2006/relationships/tags" Target="../tags/tag844.xml"/><Relationship Id="rId105" Type="http://schemas.openxmlformats.org/officeDocument/2006/relationships/tags" Target="../tags/tag849.xml"/><Relationship Id="rId126" Type="http://schemas.openxmlformats.org/officeDocument/2006/relationships/tags" Target="../tags/tag870.xml"/><Relationship Id="rId8" Type="http://schemas.openxmlformats.org/officeDocument/2006/relationships/tags" Target="../tags/tag752.xml"/><Relationship Id="rId51" Type="http://schemas.openxmlformats.org/officeDocument/2006/relationships/tags" Target="../tags/tag795.xml"/><Relationship Id="rId72" Type="http://schemas.openxmlformats.org/officeDocument/2006/relationships/tags" Target="../tags/tag816.xml"/><Relationship Id="rId93" Type="http://schemas.openxmlformats.org/officeDocument/2006/relationships/tags" Target="../tags/tag837.xml"/><Relationship Id="rId98" Type="http://schemas.openxmlformats.org/officeDocument/2006/relationships/tags" Target="../tags/tag842.xml"/><Relationship Id="rId121" Type="http://schemas.openxmlformats.org/officeDocument/2006/relationships/tags" Target="../tags/tag865.xml"/><Relationship Id="rId142" Type="http://schemas.openxmlformats.org/officeDocument/2006/relationships/chart" Target="../charts/chart41.xml"/><Relationship Id="rId3" Type="http://schemas.openxmlformats.org/officeDocument/2006/relationships/tags" Target="../tags/tag747.xml"/><Relationship Id="rId25" Type="http://schemas.openxmlformats.org/officeDocument/2006/relationships/tags" Target="../tags/tag769.xml"/><Relationship Id="rId46" Type="http://schemas.openxmlformats.org/officeDocument/2006/relationships/tags" Target="../tags/tag790.xml"/><Relationship Id="rId67" Type="http://schemas.openxmlformats.org/officeDocument/2006/relationships/tags" Target="../tags/tag811.xml"/><Relationship Id="rId116" Type="http://schemas.openxmlformats.org/officeDocument/2006/relationships/tags" Target="../tags/tag860.xml"/><Relationship Id="rId137" Type="http://schemas.openxmlformats.org/officeDocument/2006/relationships/image" Target="../media/image44.png"/><Relationship Id="rId20" Type="http://schemas.openxmlformats.org/officeDocument/2006/relationships/tags" Target="../tags/tag764.xml"/><Relationship Id="rId41" Type="http://schemas.openxmlformats.org/officeDocument/2006/relationships/tags" Target="../tags/tag785.xml"/><Relationship Id="rId62" Type="http://schemas.openxmlformats.org/officeDocument/2006/relationships/tags" Target="../tags/tag806.xml"/><Relationship Id="rId83" Type="http://schemas.openxmlformats.org/officeDocument/2006/relationships/tags" Target="../tags/tag827.xml"/><Relationship Id="rId88" Type="http://schemas.openxmlformats.org/officeDocument/2006/relationships/tags" Target="../tags/tag832.xml"/><Relationship Id="rId111" Type="http://schemas.openxmlformats.org/officeDocument/2006/relationships/tags" Target="../tags/tag855.xml"/><Relationship Id="rId132" Type="http://schemas.openxmlformats.org/officeDocument/2006/relationships/slideLayout" Target="../slideLayouts/slideLayout2.xml"/><Relationship Id="rId15" Type="http://schemas.openxmlformats.org/officeDocument/2006/relationships/tags" Target="../tags/tag759.xml"/><Relationship Id="rId36" Type="http://schemas.openxmlformats.org/officeDocument/2006/relationships/tags" Target="../tags/tag780.xml"/><Relationship Id="rId57" Type="http://schemas.openxmlformats.org/officeDocument/2006/relationships/tags" Target="../tags/tag801.xml"/><Relationship Id="rId106" Type="http://schemas.openxmlformats.org/officeDocument/2006/relationships/tags" Target="../tags/tag850.xml"/><Relationship Id="rId127" Type="http://schemas.openxmlformats.org/officeDocument/2006/relationships/tags" Target="../tags/tag871.xml"/><Relationship Id="rId10" Type="http://schemas.openxmlformats.org/officeDocument/2006/relationships/tags" Target="../tags/tag754.xml"/><Relationship Id="rId31" Type="http://schemas.openxmlformats.org/officeDocument/2006/relationships/tags" Target="../tags/tag775.xml"/><Relationship Id="rId52" Type="http://schemas.openxmlformats.org/officeDocument/2006/relationships/tags" Target="../tags/tag796.xml"/><Relationship Id="rId73" Type="http://schemas.openxmlformats.org/officeDocument/2006/relationships/tags" Target="../tags/tag817.xml"/><Relationship Id="rId78" Type="http://schemas.openxmlformats.org/officeDocument/2006/relationships/tags" Target="../tags/tag822.xml"/><Relationship Id="rId94" Type="http://schemas.openxmlformats.org/officeDocument/2006/relationships/tags" Target="../tags/tag838.xml"/><Relationship Id="rId99" Type="http://schemas.openxmlformats.org/officeDocument/2006/relationships/tags" Target="../tags/tag843.xml"/><Relationship Id="rId101" Type="http://schemas.openxmlformats.org/officeDocument/2006/relationships/tags" Target="../tags/tag845.xml"/><Relationship Id="rId122" Type="http://schemas.openxmlformats.org/officeDocument/2006/relationships/tags" Target="../tags/tag866.xml"/><Relationship Id="rId143" Type="http://schemas.openxmlformats.org/officeDocument/2006/relationships/chart" Target="../charts/chart42.xml"/><Relationship Id="rId4" Type="http://schemas.openxmlformats.org/officeDocument/2006/relationships/tags" Target="../tags/tag748.xml"/><Relationship Id="rId9" Type="http://schemas.openxmlformats.org/officeDocument/2006/relationships/tags" Target="../tags/tag753.xml"/><Relationship Id="rId26" Type="http://schemas.openxmlformats.org/officeDocument/2006/relationships/tags" Target="../tags/tag770.xml"/><Relationship Id="rId47" Type="http://schemas.openxmlformats.org/officeDocument/2006/relationships/tags" Target="../tags/tag791.xml"/><Relationship Id="rId68" Type="http://schemas.openxmlformats.org/officeDocument/2006/relationships/tags" Target="../tags/tag812.xml"/><Relationship Id="rId89" Type="http://schemas.openxmlformats.org/officeDocument/2006/relationships/tags" Target="../tags/tag833.xml"/><Relationship Id="rId112" Type="http://schemas.openxmlformats.org/officeDocument/2006/relationships/tags" Target="../tags/tag856.xml"/><Relationship Id="rId133" Type="http://schemas.openxmlformats.org/officeDocument/2006/relationships/oleObject" Target="../embeddings/oleObject36.bin"/><Relationship Id="rId16" Type="http://schemas.openxmlformats.org/officeDocument/2006/relationships/tags" Target="../tags/tag760.xml"/><Relationship Id="rId37" Type="http://schemas.openxmlformats.org/officeDocument/2006/relationships/tags" Target="../tags/tag781.xml"/><Relationship Id="rId58" Type="http://schemas.openxmlformats.org/officeDocument/2006/relationships/tags" Target="../tags/tag802.xml"/><Relationship Id="rId79" Type="http://schemas.openxmlformats.org/officeDocument/2006/relationships/tags" Target="../tags/tag823.xml"/><Relationship Id="rId102" Type="http://schemas.openxmlformats.org/officeDocument/2006/relationships/tags" Target="../tags/tag846.xml"/><Relationship Id="rId123" Type="http://schemas.openxmlformats.org/officeDocument/2006/relationships/tags" Target="../tags/tag867.xml"/><Relationship Id="rId144" Type="http://schemas.openxmlformats.org/officeDocument/2006/relationships/image" Target="../media/image46.jpeg"/></Relationships>
</file>

<file path=ppt/slides/_rels/slide36.xml.rels><?xml version="1.0" encoding="UTF-8" standalone="yes"?>
<Relationships xmlns="http://schemas.openxmlformats.org/package/2006/relationships"><Relationship Id="rId13" Type="http://schemas.openxmlformats.org/officeDocument/2006/relationships/tags" Target="../tags/tag888.xml"/><Relationship Id="rId18" Type="http://schemas.openxmlformats.org/officeDocument/2006/relationships/tags" Target="../tags/tag893.xml"/><Relationship Id="rId26" Type="http://schemas.openxmlformats.org/officeDocument/2006/relationships/tags" Target="../tags/tag901.xml"/><Relationship Id="rId39" Type="http://schemas.openxmlformats.org/officeDocument/2006/relationships/chart" Target="../charts/chart49.xml"/><Relationship Id="rId21" Type="http://schemas.openxmlformats.org/officeDocument/2006/relationships/tags" Target="../tags/tag896.xml"/><Relationship Id="rId34" Type="http://schemas.openxmlformats.org/officeDocument/2006/relationships/chart" Target="../charts/chart44.xml"/><Relationship Id="rId7" Type="http://schemas.openxmlformats.org/officeDocument/2006/relationships/tags" Target="../tags/tag882.xml"/><Relationship Id="rId12" Type="http://schemas.openxmlformats.org/officeDocument/2006/relationships/tags" Target="../tags/tag887.xml"/><Relationship Id="rId17" Type="http://schemas.openxmlformats.org/officeDocument/2006/relationships/tags" Target="../tags/tag892.xml"/><Relationship Id="rId25" Type="http://schemas.openxmlformats.org/officeDocument/2006/relationships/tags" Target="../tags/tag900.xml"/><Relationship Id="rId33" Type="http://schemas.openxmlformats.org/officeDocument/2006/relationships/image" Target="../media/image1.emf"/><Relationship Id="rId38" Type="http://schemas.openxmlformats.org/officeDocument/2006/relationships/chart" Target="../charts/chart48.xml"/><Relationship Id="rId2" Type="http://schemas.openxmlformats.org/officeDocument/2006/relationships/tags" Target="../tags/tag877.xml"/><Relationship Id="rId16" Type="http://schemas.openxmlformats.org/officeDocument/2006/relationships/tags" Target="../tags/tag891.xml"/><Relationship Id="rId20" Type="http://schemas.openxmlformats.org/officeDocument/2006/relationships/tags" Target="../tags/tag895.xml"/><Relationship Id="rId29" Type="http://schemas.openxmlformats.org/officeDocument/2006/relationships/tags" Target="../tags/tag904.xml"/><Relationship Id="rId1" Type="http://schemas.openxmlformats.org/officeDocument/2006/relationships/tags" Target="../tags/tag876.xml"/><Relationship Id="rId6" Type="http://schemas.openxmlformats.org/officeDocument/2006/relationships/tags" Target="../tags/tag881.xml"/><Relationship Id="rId11" Type="http://schemas.openxmlformats.org/officeDocument/2006/relationships/tags" Target="../tags/tag886.xml"/><Relationship Id="rId24" Type="http://schemas.openxmlformats.org/officeDocument/2006/relationships/tags" Target="../tags/tag899.xml"/><Relationship Id="rId32" Type="http://schemas.openxmlformats.org/officeDocument/2006/relationships/oleObject" Target="../embeddings/oleObject37.bin"/><Relationship Id="rId37" Type="http://schemas.openxmlformats.org/officeDocument/2006/relationships/chart" Target="../charts/chart47.xml"/><Relationship Id="rId40" Type="http://schemas.openxmlformats.org/officeDocument/2006/relationships/chart" Target="../charts/chart50.xml"/><Relationship Id="rId5" Type="http://schemas.openxmlformats.org/officeDocument/2006/relationships/tags" Target="../tags/tag880.xml"/><Relationship Id="rId15" Type="http://schemas.openxmlformats.org/officeDocument/2006/relationships/tags" Target="../tags/tag890.xml"/><Relationship Id="rId23" Type="http://schemas.openxmlformats.org/officeDocument/2006/relationships/tags" Target="../tags/tag898.xml"/><Relationship Id="rId28" Type="http://schemas.openxmlformats.org/officeDocument/2006/relationships/tags" Target="../tags/tag903.xml"/><Relationship Id="rId36" Type="http://schemas.openxmlformats.org/officeDocument/2006/relationships/chart" Target="../charts/chart46.xml"/><Relationship Id="rId10" Type="http://schemas.openxmlformats.org/officeDocument/2006/relationships/tags" Target="../tags/tag885.xml"/><Relationship Id="rId19" Type="http://schemas.openxmlformats.org/officeDocument/2006/relationships/tags" Target="../tags/tag894.xml"/><Relationship Id="rId31" Type="http://schemas.openxmlformats.org/officeDocument/2006/relationships/slideLayout" Target="../slideLayouts/slideLayout2.xml"/><Relationship Id="rId4" Type="http://schemas.openxmlformats.org/officeDocument/2006/relationships/tags" Target="../tags/tag879.xml"/><Relationship Id="rId9" Type="http://schemas.openxmlformats.org/officeDocument/2006/relationships/tags" Target="../tags/tag884.xml"/><Relationship Id="rId14" Type="http://schemas.openxmlformats.org/officeDocument/2006/relationships/tags" Target="../tags/tag889.xml"/><Relationship Id="rId22" Type="http://schemas.openxmlformats.org/officeDocument/2006/relationships/tags" Target="../tags/tag897.xml"/><Relationship Id="rId27" Type="http://schemas.openxmlformats.org/officeDocument/2006/relationships/tags" Target="../tags/tag902.xml"/><Relationship Id="rId30" Type="http://schemas.openxmlformats.org/officeDocument/2006/relationships/tags" Target="../tags/tag905.xml"/><Relationship Id="rId35" Type="http://schemas.openxmlformats.org/officeDocument/2006/relationships/chart" Target="../charts/chart45.xml"/><Relationship Id="rId8" Type="http://schemas.openxmlformats.org/officeDocument/2006/relationships/tags" Target="../tags/tag883.xml"/><Relationship Id="rId3" Type="http://schemas.openxmlformats.org/officeDocument/2006/relationships/tags" Target="../tags/tag878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06.xml"/><Relationship Id="rId4" Type="http://schemas.openxmlformats.org/officeDocument/2006/relationships/image" Target="../media/image1.emf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svg"/><Relationship Id="rId3" Type="http://schemas.openxmlformats.org/officeDocument/2006/relationships/oleObject" Target="../embeddings/oleObject39.bin"/><Relationship Id="rId7" Type="http://schemas.openxmlformats.org/officeDocument/2006/relationships/image" Target="../media/image5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07.xml"/><Relationship Id="rId6" Type="http://schemas.openxmlformats.org/officeDocument/2006/relationships/image" Target="../media/image51.svg"/><Relationship Id="rId5" Type="http://schemas.openxmlformats.org/officeDocument/2006/relationships/image" Target="../media/image50.png"/><Relationship Id="rId10" Type="http://schemas.openxmlformats.org/officeDocument/2006/relationships/image" Target="../media/image55.svg"/><Relationship Id="rId4" Type="http://schemas.openxmlformats.org/officeDocument/2006/relationships/image" Target="../media/image1.emf"/><Relationship Id="rId9" Type="http://schemas.openxmlformats.org/officeDocument/2006/relationships/image" Target="../media/image54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08.xml"/><Relationship Id="rId5" Type="http://schemas.openxmlformats.org/officeDocument/2006/relationships/image" Target="../media/image56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09.xml"/><Relationship Id="rId5" Type="http://schemas.openxmlformats.org/officeDocument/2006/relationships/image" Target="../media/image57.png"/><Relationship Id="rId4" Type="http://schemas.openxmlformats.org/officeDocument/2006/relationships/image" Target="../media/image1.emf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10.xml"/><Relationship Id="rId4" Type="http://schemas.openxmlformats.org/officeDocument/2006/relationships/image" Target="../media/image1.emf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svg"/><Relationship Id="rId3" Type="http://schemas.openxmlformats.org/officeDocument/2006/relationships/oleObject" Target="../embeddings/oleObject43.bin"/><Relationship Id="rId7" Type="http://schemas.openxmlformats.org/officeDocument/2006/relationships/image" Target="../media/image60.png"/><Relationship Id="rId12" Type="http://schemas.openxmlformats.org/officeDocument/2006/relationships/image" Target="../media/image65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11.xml"/><Relationship Id="rId6" Type="http://schemas.openxmlformats.org/officeDocument/2006/relationships/image" Target="../media/image59.svg"/><Relationship Id="rId11" Type="http://schemas.openxmlformats.org/officeDocument/2006/relationships/image" Target="../media/image64.png"/><Relationship Id="rId5" Type="http://schemas.openxmlformats.org/officeDocument/2006/relationships/image" Target="../media/image58.png"/><Relationship Id="rId10" Type="http://schemas.openxmlformats.org/officeDocument/2006/relationships/image" Target="../media/image63.svg"/><Relationship Id="rId4" Type="http://schemas.openxmlformats.org/officeDocument/2006/relationships/image" Target="../media/image1.emf"/><Relationship Id="rId9" Type="http://schemas.openxmlformats.org/officeDocument/2006/relationships/image" Target="../media/image62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chart" Target="../charts/chart51.xml"/><Relationship Id="rId3" Type="http://schemas.openxmlformats.org/officeDocument/2006/relationships/tags" Target="../tags/tag914.xml"/><Relationship Id="rId7" Type="http://schemas.openxmlformats.org/officeDocument/2006/relationships/oleObject" Target="../embeddings/oleObject44.bin"/><Relationship Id="rId12" Type="http://schemas.openxmlformats.org/officeDocument/2006/relationships/image" Target="../media/image46.jpeg"/><Relationship Id="rId2" Type="http://schemas.openxmlformats.org/officeDocument/2006/relationships/tags" Target="../tags/tag913.xml"/><Relationship Id="rId16" Type="http://schemas.openxmlformats.org/officeDocument/2006/relationships/chart" Target="../charts/chart54.xml"/><Relationship Id="rId1" Type="http://schemas.openxmlformats.org/officeDocument/2006/relationships/tags" Target="../tags/tag912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45.png"/><Relationship Id="rId5" Type="http://schemas.openxmlformats.org/officeDocument/2006/relationships/tags" Target="../tags/tag916.xml"/><Relationship Id="rId15" Type="http://schemas.openxmlformats.org/officeDocument/2006/relationships/chart" Target="../charts/chart53.xml"/><Relationship Id="rId10" Type="http://schemas.openxmlformats.org/officeDocument/2006/relationships/image" Target="../media/image44.png"/><Relationship Id="rId4" Type="http://schemas.openxmlformats.org/officeDocument/2006/relationships/tags" Target="../tags/tag915.xml"/><Relationship Id="rId9" Type="http://schemas.openxmlformats.org/officeDocument/2006/relationships/image" Target="../media/image43.jpeg"/><Relationship Id="rId14" Type="http://schemas.openxmlformats.org/officeDocument/2006/relationships/chart" Target="../charts/chart5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17.xml"/><Relationship Id="rId4" Type="http://schemas.openxmlformats.org/officeDocument/2006/relationships/image" Target="../media/image1.emf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18.xml"/><Relationship Id="rId4" Type="http://schemas.openxmlformats.org/officeDocument/2006/relationships/image" Target="../media/image1.emf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19.xml"/><Relationship Id="rId4" Type="http://schemas.openxmlformats.org/officeDocument/2006/relationships/image" Target="../media/image1.emf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20.xml"/><Relationship Id="rId4" Type="http://schemas.openxmlformats.org/officeDocument/2006/relationships/image" Target="../media/image1.emf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21.xml"/><Relationship Id="rId5" Type="http://schemas.openxmlformats.org/officeDocument/2006/relationships/image" Target="../media/image66.jpeg"/><Relationship Id="rId4" Type="http://schemas.openxmlformats.org/officeDocument/2006/relationships/image" Target="../media/image1.emf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22.xml"/><Relationship Id="rId5" Type="http://schemas.openxmlformats.org/officeDocument/2006/relationships/image" Target="../media/image67.jpe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7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23.xml"/><Relationship Id="rId5" Type="http://schemas.openxmlformats.org/officeDocument/2006/relationships/image" Target="../media/image68.jpeg"/><Relationship Id="rId4" Type="http://schemas.openxmlformats.org/officeDocument/2006/relationships/image" Target="../media/image1.emf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24.xml"/><Relationship Id="rId4" Type="http://schemas.openxmlformats.org/officeDocument/2006/relationships/image" Target="../media/image1.emf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25.xml"/><Relationship Id="rId5" Type="http://schemas.openxmlformats.org/officeDocument/2006/relationships/hyperlink" Target="https://www.mckinsey.com/business-functions/mckinsey-digital/our-insights/think-fast-how-to-accelerate-e-commerce-growth" TargetMode="Externa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oleObject" Target="../embeddings/oleObject7.bin"/><Relationship Id="rId7" Type="http://schemas.openxmlformats.org/officeDocument/2006/relationships/image" Target="../media/image10.png"/><Relationship Id="rId12" Type="http://schemas.openxmlformats.org/officeDocument/2006/relationships/image" Target="../media/image15.sv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image" Target="../media/image9.svg"/><Relationship Id="rId11" Type="http://schemas.openxmlformats.org/officeDocument/2006/relationships/image" Target="../media/image14.png"/><Relationship Id="rId5" Type="http://schemas.openxmlformats.org/officeDocument/2006/relationships/image" Target="../media/image8.png"/><Relationship Id="rId10" Type="http://schemas.openxmlformats.org/officeDocument/2006/relationships/image" Target="../media/image13.svg"/><Relationship Id="rId4" Type="http://schemas.openxmlformats.org/officeDocument/2006/relationships/image" Target="../media/image1.emf"/><Relationship Id="rId9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13" Type="http://schemas.openxmlformats.org/officeDocument/2006/relationships/image" Target="../media/image24.jpeg"/><Relationship Id="rId3" Type="http://schemas.openxmlformats.org/officeDocument/2006/relationships/oleObject" Target="../embeddings/oleObject8.bin"/><Relationship Id="rId7" Type="http://schemas.openxmlformats.org/officeDocument/2006/relationships/image" Target="../media/image18.png"/><Relationship Id="rId12" Type="http://schemas.openxmlformats.org/officeDocument/2006/relationships/image" Target="../media/image23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17.sv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0" Type="http://schemas.openxmlformats.org/officeDocument/2006/relationships/image" Target="../media/image21.svg"/><Relationship Id="rId4" Type="http://schemas.openxmlformats.org/officeDocument/2006/relationships/image" Target="../media/image1.emf"/><Relationship Id="rId9" Type="http://schemas.openxmlformats.org/officeDocument/2006/relationships/image" Target="../media/image2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svg"/><Relationship Id="rId3" Type="http://schemas.openxmlformats.org/officeDocument/2006/relationships/oleObject" Target="../embeddings/oleObject9.bin"/><Relationship Id="rId7" Type="http://schemas.openxmlformats.org/officeDocument/2006/relationships/image" Target="../media/image25.png"/><Relationship Id="rId12" Type="http://schemas.openxmlformats.org/officeDocument/2006/relationships/image" Target="../media/image30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6.svg"/><Relationship Id="rId11" Type="http://schemas.openxmlformats.org/officeDocument/2006/relationships/image" Target="../media/image29.png"/><Relationship Id="rId5" Type="http://schemas.openxmlformats.org/officeDocument/2006/relationships/image" Target="../media/image5.png"/><Relationship Id="rId10" Type="http://schemas.openxmlformats.org/officeDocument/2006/relationships/image" Target="../media/image28.svg"/><Relationship Id="rId4" Type="http://schemas.openxmlformats.org/officeDocument/2006/relationships/image" Target="../media/image1.emf"/><Relationship Id="rId9" Type="http://schemas.openxmlformats.org/officeDocument/2006/relationships/image" Target="../media/image2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1741937-19DC-4450-ADEF-21625BF204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38306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computer on a desk&#10;&#10;Description automatically generated with low confidence">
            <a:extLst>
              <a:ext uri="{FF2B5EF4-FFF2-40B4-BE49-F238E27FC236}">
                <a16:creationId xmlns:a16="http://schemas.microsoft.com/office/drawing/2014/main" id="{9DDC8E31-C074-45BC-A64A-48760FD1C85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1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0308" y="0"/>
            <a:ext cx="4572352" cy="6858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CBF028E-528C-47C7-BA8D-5B1352152333}"/>
              </a:ext>
            </a:extLst>
          </p:cNvPr>
          <p:cNvSpPr txBox="1"/>
          <p:nvPr/>
        </p:nvSpPr>
        <p:spPr>
          <a:xfrm rot="16200000">
            <a:off x="9908269" y="2837012"/>
            <a:ext cx="343553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ITC Avant Garde Pro Md" panose="020B0602020202020204" pitchFamily="34" charset="0"/>
                <a:cs typeface="Cordia New" panose="020B0502040204020203" pitchFamily="34" charset="-34"/>
              </a:rPr>
              <a:t>Capstone Team 1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D19DD8E5-3A77-4B3E-B0A5-EB04F8864914}"/>
              </a:ext>
            </a:extLst>
          </p:cNvPr>
          <p:cNvCxnSpPr>
            <a:cxnSpLocks/>
          </p:cNvCxnSpPr>
          <p:nvPr/>
        </p:nvCxnSpPr>
        <p:spPr>
          <a:xfrm>
            <a:off x="689810" y="4676503"/>
            <a:ext cx="0" cy="2181497"/>
          </a:xfrm>
          <a:prstGeom prst="line">
            <a:avLst/>
          </a:prstGeom>
          <a:ln>
            <a:solidFill>
              <a:srgbClr val="1B262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439BF022-F940-41C7-8D0E-01DA7F604557}"/>
              </a:ext>
            </a:extLst>
          </p:cNvPr>
          <p:cNvSpPr txBox="1"/>
          <p:nvPr/>
        </p:nvSpPr>
        <p:spPr>
          <a:xfrm>
            <a:off x="946490" y="5467347"/>
            <a:ext cx="2823406" cy="11948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dirty="0">
                <a:latin typeface="ITC Avant Garde Pro Bk" panose="020B0502020202020204" pitchFamily="34" charset="0"/>
              </a:rPr>
              <a:t>Zhantileu Segizbayev</a:t>
            </a:r>
          </a:p>
          <a:p>
            <a:pPr>
              <a:lnSpc>
                <a:spcPct val="150000"/>
              </a:lnSpc>
            </a:pPr>
            <a:r>
              <a:rPr lang="en-US" sz="1600" dirty="0">
                <a:latin typeface="ITC Avant Garde Pro Bk" panose="020B0502020202020204" pitchFamily="34" charset="0"/>
              </a:rPr>
              <a:t>Saida </a:t>
            </a:r>
            <a:r>
              <a:rPr lang="en-US" sz="1600" dirty="0" err="1">
                <a:latin typeface="ITC Avant Garde Pro Bk" panose="020B0502020202020204" pitchFamily="34" charset="0"/>
              </a:rPr>
              <a:t>Zhunussova</a:t>
            </a:r>
            <a:endParaRPr lang="en-US" sz="1600" dirty="0">
              <a:latin typeface="ITC Avant Garde Pro Bk" panose="020B0502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1600" dirty="0" err="1">
                <a:latin typeface="ITC Avant Garde Pro Bk" panose="020B0502020202020204" pitchFamily="34" charset="0"/>
              </a:rPr>
              <a:t>Madina</a:t>
            </a:r>
            <a:r>
              <a:rPr lang="en-US" sz="1600" dirty="0">
                <a:latin typeface="ITC Avant Garde Pro Bk" panose="020B0502020202020204" pitchFamily="34" charset="0"/>
              </a:rPr>
              <a:t> </a:t>
            </a:r>
            <a:r>
              <a:rPr lang="en-US" sz="1600" dirty="0" err="1">
                <a:latin typeface="ITC Avant Garde Pro Bk" panose="020B0502020202020204" pitchFamily="34" charset="0"/>
              </a:rPr>
              <a:t>Baizhanova</a:t>
            </a:r>
            <a:endParaRPr lang="en-US" sz="1600" dirty="0">
              <a:latin typeface="ITC Avant Garde Pro Bk" panose="020B050202020202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0179342-607C-4BEE-9B3B-83C2A02E2D4F}"/>
              </a:ext>
            </a:extLst>
          </p:cNvPr>
          <p:cNvSpPr txBox="1"/>
          <p:nvPr/>
        </p:nvSpPr>
        <p:spPr>
          <a:xfrm>
            <a:off x="946490" y="4579506"/>
            <a:ext cx="2823406" cy="7850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dirty="0">
                <a:latin typeface="ITC Avant Garde Pro Md" panose="020B0602020202020204" pitchFamily="34" charset="0"/>
              </a:rPr>
              <a:t>Prof. </a:t>
            </a:r>
            <a:r>
              <a:rPr lang="en-US" sz="1600" dirty="0" err="1">
                <a:latin typeface="ITC Avant Garde Pro Md" panose="020B0602020202020204" pitchFamily="34" charset="0"/>
              </a:rPr>
              <a:t>Dimitrios</a:t>
            </a:r>
            <a:r>
              <a:rPr lang="en-US" sz="1600" dirty="0">
                <a:latin typeface="ITC Avant Garde Pro Md" panose="020B0602020202020204" pitchFamily="34" charset="0"/>
              </a:rPr>
              <a:t> Emiris</a:t>
            </a:r>
          </a:p>
          <a:p>
            <a:pPr>
              <a:lnSpc>
                <a:spcPct val="150000"/>
              </a:lnSpc>
            </a:pPr>
            <a:r>
              <a:rPr lang="en-US" sz="1600" dirty="0">
                <a:latin typeface="ITC Avant Garde Pro Md" panose="020B0602020202020204" pitchFamily="34" charset="0"/>
              </a:rPr>
              <a:t>Prof. Maria </a:t>
            </a:r>
            <a:r>
              <a:rPr lang="en-US" sz="1600" dirty="0" err="1">
                <a:latin typeface="ITC Avant Garde Pro Md" panose="020B0602020202020204" pitchFamily="34" charset="0"/>
              </a:rPr>
              <a:t>Tsakalerou</a:t>
            </a:r>
            <a:r>
              <a:rPr lang="en-US" sz="1600" dirty="0">
                <a:latin typeface="ITC Avant Garde Pro Md" panose="020B0602020202020204" pitchFamily="34" charset="0"/>
              </a:rPr>
              <a:t> 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654720E8-ECB7-467F-8EB5-7FAC2BD3AFEA}"/>
              </a:ext>
            </a:extLst>
          </p:cNvPr>
          <p:cNvSpPr txBox="1"/>
          <p:nvPr/>
        </p:nvSpPr>
        <p:spPr>
          <a:xfrm>
            <a:off x="454050" y="1493407"/>
            <a:ext cx="5558483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bg2">
                    <a:lumMod val="50000"/>
                  </a:schemeClr>
                </a:solidFill>
                <a:latin typeface="ITC Avant Garde Pro Md" panose="020B0602020202020204" pitchFamily="34" charset="0"/>
              </a:rPr>
              <a:t>Assortment improvement </a:t>
            </a:r>
          </a:p>
          <a:p>
            <a:r>
              <a:rPr lang="en-US" sz="3200" b="1" dirty="0">
                <a:solidFill>
                  <a:schemeClr val="bg2">
                    <a:lumMod val="50000"/>
                  </a:schemeClr>
                </a:solidFill>
                <a:latin typeface="ITC Avant Garde Pro Md" panose="020B0602020202020204" pitchFamily="34" charset="0"/>
              </a:rPr>
              <a:t>of Magnum retail chain through e-commerce channel: </a:t>
            </a:r>
            <a:r>
              <a:rPr lang="en-US" sz="3200" b="1" dirty="0">
                <a:solidFill>
                  <a:srgbClr val="B51B4F"/>
                </a:solidFill>
                <a:latin typeface="ITC Avant Garde Pro Md" panose="020B0602020202020204" pitchFamily="34" charset="0"/>
              </a:rPr>
              <a:t>A Data Analytics approach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664D844F-BECE-4E87-B972-D5F6D177C7D1}"/>
              </a:ext>
            </a:extLst>
          </p:cNvPr>
          <p:cNvCxnSpPr>
            <a:cxnSpLocks/>
          </p:cNvCxnSpPr>
          <p:nvPr/>
        </p:nvCxnSpPr>
        <p:spPr>
          <a:xfrm>
            <a:off x="11610358" y="5016137"/>
            <a:ext cx="0" cy="1841863"/>
          </a:xfrm>
          <a:prstGeom prst="line">
            <a:avLst/>
          </a:prstGeom>
          <a:ln>
            <a:solidFill>
              <a:srgbClr val="1B262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126891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8188AD-9094-4C66-BE47-9C889B1594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8188AD-9094-4C66-BE47-9C889B1594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66584611-B9BD-493F-90BA-81739C2DC2FB}"/>
              </a:ext>
            </a:extLst>
          </p:cNvPr>
          <p:cNvSpPr/>
          <p:nvPr/>
        </p:nvSpPr>
        <p:spPr>
          <a:xfrm>
            <a:off x="10485296" y="0"/>
            <a:ext cx="1706704" cy="6858000"/>
          </a:xfrm>
          <a:prstGeom prst="rect">
            <a:avLst/>
          </a:prstGeom>
          <a:solidFill>
            <a:srgbClr val="1B26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885B069-12B1-4D5E-A241-F108F36069DA}"/>
              </a:ext>
            </a:extLst>
          </p:cNvPr>
          <p:cNvSpPr txBox="1"/>
          <p:nvPr/>
        </p:nvSpPr>
        <p:spPr>
          <a:xfrm>
            <a:off x="601013" y="5176290"/>
            <a:ext cx="7785341" cy="10156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6000" dirty="0">
                <a:solidFill>
                  <a:srgbClr val="1B262A"/>
                </a:solidFill>
                <a:latin typeface="ITC Avant Garde Pro Md" panose="020B0602020202020204" pitchFamily="34" charset="0"/>
              </a:rPr>
              <a:t>Literature review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4B60A28-A434-42BB-A331-28E026EE266B}"/>
              </a:ext>
            </a:extLst>
          </p:cNvPr>
          <p:cNvSpPr txBox="1"/>
          <p:nvPr/>
        </p:nvSpPr>
        <p:spPr>
          <a:xfrm>
            <a:off x="461549" y="2870199"/>
            <a:ext cx="1759131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0" dirty="0">
                <a:solidFill>
                  <a:srgbClr val="1B262A"/>
                </a:solidFill>
                <a:latin typeface="Bahnschrift SemiLight Condensed" panose="020B0502040204020203" pitchFamily="34" charset="0"/>
              </a:rPr>
              <a:t>02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33DE7A0-1D17-43A1-B265-3C74434996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6D2641-81B4-4FA9-AABA-CD0BE301EB4F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64461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9FBDCD-8AFA-4187-9760-F291DAA622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9FBDCD-8AFA-4187-9760-F291DAA622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386FCED9-4183-4FF8-8633-AD8035E8746D}"/>
              </a:ext>
            </a:extLst>
          </p:cNvPr>
          <p:cNvSpPr txBox="1"/>
          <p:nvPr/>
        </p:nvSpPr>
        <p:spPr>
          <a:xfrm>
            <a:off x="688185" y="556502"/>
            <a:ext cx="7410786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ITC Avant Garde Pro Md" panose="020B0602020202020204" pitchFamily="34" charset="0"/>
              </a:rPr>
              <a:t>Literature review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62796B2-FD7C-4E2B-8CF6-D730A84AF43C}"/>
              </a:ext>
            </a:extLst>
          </p:cNvPr>
          <p:cNvSpPr/>
          <p:nvPr/>
        </p:nvSpPr>
        <p:spPr>
          <a:xfrm>
            <a:off x="849086" y="1293223"/>
            <a:ext cx="5133703" cy="252113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2746D7C-F024-4DDD-982E-CAB1BA440991}"/>
              </a:ext>
            </a:extLst>
          </p:cNvPr>
          <p:cNvSpPr/>
          <p:nvPr/>
        </p:nvSpPr>
        <p:spPr>
          <a:xfrm>
            <a:off x="6209213" y="1293223"/>
            <a:ext cx="5133703" cy="252113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B55F047-0E1D-4E41-9E48-3E83E74A41C5}"/>
              </a:ext>
            </a:extLst>
          </p:cNvPr>
          <p:cNvSpPr/>
          <p:nvPr/>
        </p:nvSpPr>
        <p:spPr>
          <a:xfrm>
            <a:off x="849086" y="3966300"/>
            <a:ext cx="5133703" cy="252113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6DEF28B-C6CD-4770-A8A6-89CBED9AFFB2}"/>
              </a:ext>
            </a:extLst>
          </p:cNvPr>
          <p:cNvSpPr/>
          <p:nvPr/>
        </p:nvSpPr>
        <p:spPr>
          <a:xfrm>
            <a:off x="6209213" y="3966299"/>
            <a:ext cx="5133703" cy="252113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5D6FCF1-2D24-4DA6-B311-BCB320A559B8}"/>
              </a:ext>
            </a:extLst>
          </p:cNvPr>
          <p:cNvSpPr txBox="1"/>
          <p:nvPr/>
        </p:nvSpPr>
        <p:spPr>
          <a:xfrm>
            <a:off x="849086" y="2369122"/>
            <a:ext cx="51337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ITC Avant Garde Pro Md" panose="020B0602020202020204" pitchFamily="34" charset="0"/>
              </a:rPr>
              <a:t>Data analytics in e-commerc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5F148B7-8B72-415F-9C50-A95C22979ABE}"/>
              </a:ext>
            </a:extLst>
          </p:cNvPr>
          <p:cNvSpPr txBox="1"/>
          <p:nvPr/>
        </p:nvSpPr>
        <p:spPr>
          <a:xfrm>
            <a:off x="6209212" y="2369122"/>
            <a:ext cx="51337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ITC Avant Garde Pro Md" panose="020B0602020202020204" pitchFamily="34" charset="0"/>
              </a:rPr>
              <a:t>Assortment for e-commerce platform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DDE070E-FE0F-44E2-B70E-D3058579B7B9}"/>
              </a:ext>
            </a:extLst>
          </p:cNvPr>
          <p:cNvSpPr txBox="1"/>
          <p:nvPr/>
        </p:nvSpPr>
        <p:spPr>
          <a:xfrm>
            <a:off x="1031965" y="4946013"/>
            <a:ext cx="47679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ITC Avant Garde Pro Md" panose="020B0602020202020204" pitchFamily="34" charset="0"/>
              </a:rPr>
              <a:t>Categorization and listing strategies for e-commerc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D679A9C-44C4-45F5-AC40-C7955173A3A2}"/>
              </a:ext>
            </a:extLst>
          </p:cNvPr>
          <p:cNvSpPr txBox="1"/>
          <p:nvPr/>
        </p:nvSpPr>
        <p:spPr>
          <a:xfrm>
            <a:off x="6209212" y="5063578"/>
            <a:ext cx="51337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ITC Avant Garde Pro Md" panose="020B0602020202020204" pitchFamily="34" charset="0"/>
              </a:rPr>
              <a:t>Web and mobile app ergonomics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E684E6E-AEA0-457B-A274-487ACC6FD73C}"/>
              </a:ext>
            </a:extLst>
          </p:cNvPr>
          <p:cNvCxnSpPr>
            <a:cxnSpLocks/>
          </p:cNvCxnSpPr>
          <p:nvPr/>
        </p:nvCxnSpPr>
        <p:spPr>
          <a:xfrm>
            <a:off x="688185" y="1082000"/>
            <a:ext cx="1101613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Oval 11">
            <a:extLst>
              <a:ext uri="{FF2B5EF4-FFF2-40B4-BE49-F238E27FC236}">
                <a16:creationId xmlns:a16="http://schemas.microsoft.com/office/drawing/2014/main" id="{235DEADE-5509-4438-91FE-249506A4E384}"/>
              </a:ext>
            </a:extLst>
          </p:cNvPr>
          <p:cNvSpPr/>
          <p:nvPr/>
        </p:nvSpPr>
        <p:spPr>
          <a:xfrm>
            <a:off x="5412377" y="3164718"/>
            <a:ext cx="1358537" cy="1358537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dirty="0">
                <a:solidFill>
                  <a:schemeClr val="tx1"/>
                </a:solidFill>
                <a:latin typeface="Bahnschrift SemiLight Condensed" panose="020B0502040204020203" pitchFamily="34" charset="0"/>
              </a:rPr>
              <a:t>40+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7E9E0CC7-A49F-4CB5-961F-36A7DC3A49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6D2641-81B4-4FA9-AABA-CD0BE301EB4F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27296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5" grpId="0" animBg="1"/>
      <p:bldP spid="6" grpId="0" animBg="1"/>
      <p:bldP spid="7" grpId="0" animBg="1"/>
      <p:bldP spid="8" grpId="0"/>
      <p:bldP spid="9" grpId="0"/>
      <p:bldP spid="10" grpId="0"/>
      <p:bldP spid="11" grpId="0"/>
      <p:bldP spid="12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FD51857-C79F-4CFB-A531-F489F65B23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FD51857-C79F-4CFB-A531-F489F65B23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B01B81-2CD6-4975-AF5D-9EE0272B96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6D2641-81B4-4FA9-AABA-CD0BE301EB4F}" type="slidenum">
              <a:rPr lang="en-US" smtClean="0"/>
              <a:t>12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FCF158D-717A-450C-A9EB-A7D1F77D166A}"/>
              </a:ext>
            </a:extLst>
          </p:cNvPr>
          <p:cNvSpPr txBox="1"/>
          <p:nvPr/>
        </p:nvSpPr>
        <p:spPr>
          <a:xfrm>
            <a:off x="688185" y="556502"/>
            <a:ext cx="7410786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ITC Avant Garde Pro Md" panose="020B0602020202020204" pitchFamily="34" charset="0"/>
              </a:rPr>
              <a:t>Data analytics in e-commerc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54A5BF-E6B2-4C5C-9167-7F58BDF549FB}"/>
              </a:ext>
            </a:extLst>
          </p:cNvPr>
          <p:cNvCxnSpPr>
            <a:cxnSpLocks/>
          </p:cNvCxnSpPr>
          <p:nvPr/>
        </p:nvCxnSpPr>
        <p:spPr>
          <a:xfrm>
            <a:off x="688185" y="1082000"/>
            <a:ext cx="1101613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4">
            <a:extLst>
              <a:ext uri="{FF2B5EF4-FFF2-40B4-BE49-F238E27FC236}">
                <a16:creationId xmlns:a16="http://schemas.microsoft.com/office/drawing/2014/main" id="{4DD643CE-41ED-4311-886C-736458375444}"/>
              </a:ext>
            </a:extLst>
          </p:cNvPr>
          <p:cNvSpPr/>
          <p:nvPr/>
        </p:nvSpPr>
        <p:spPr>
          <a:xfrm>
            <a:off x="791054" y="1291006"/>
            <a:ext cx="10609892" cy="34339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en-US" dirty="0" err="1">
                <a:latin typeface="ITC Avant Garde Pro Md" panose="020B0602020202020204" pitchFamily="34" charset="0"/>
              </a:rPr>
              <a:t>Akter</a:t>
            </a:r>
            <a:r>
              <a:rPr lang="en-US" dirty="0">
                <a:latin typeface="ITC Avant Garde Pro Md" panose="020B0602020202020204" pitchFamily="34" charset="0"/>
              </a:rPr>
              <a:t> and </a:t>
            </a:r>
            <a:r>
              <a:rPr lang="en-US" dirty="0" err="1">
                <a:latin typeface="ITC Avant Garde Pro Md" panose="020B0602020202020204" pitchFamily="34" charset="0"/>
              </a:rPr>
              <a:t>Wamba</a:t>
            </a:r>
            <a:r>
              <a:rPr lang="en-US" dirty="0">
                <a:latin typeface="ITC Avant Garde Pro Md" panose="020B0602020202020204" pitchFamily="34" charset="0"/>
              </a:rPr>
              <a:t> (2016): </a:t>
            </a:r>
            <a:r>
              <a:rPr lang="en-US" dirty="0">
                <a:latin typeface="ITC Avant Garde Pro Bk" panose="020B0502020202020204" pitchFamily="34" charset="0"/>
              </a:rPr>
              <a:t>Implementation of BDA leads to the increase in productivity at least by 5-6%. </a:t>
            </a:r>
          </a:p>
          <a:p>
            <a:pPr marL="457200" indent="-45720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en-US" dirty="0">
                <a:latin typeface="ITC Avant Garde Pro Md" panose="020B0602020202020204" pitchFamily="34" charset="0"/>
              </a:rPr>
              <a:t>Le and </a:t>
            </a:r>
            <a:r>
              <a:rPr lang="en-US" dirty="0" err="1">
                <a:latin typeface="ITC Avant Garde Pro Md" panose="020B0602020202020204" pitchFamily="34" charset="0"/>
              </a:rPr>
              <a:t>Liaw</a:t>
            </a:r>
            <a:r>
              <a:rPr lang="en-US" dirty="0">
                <a:latin typeface="ITC Avant Garde Pro Md" panose="020B0602020202020204" pitchFamily="34" charset="0"/>
              </a:rPr>
              <a:t> (2017): </a:t>
            </a:r>
            <a:r>
              <a:rPr lang="en-US" dirty="0">
                <a:latin typeface="ITC Avant Garde Pro Bk" panose="020B0502020202020204" pitchFamily="34" charset="0"/>
              </a:rPr>
              <a:t>Companies should give more priorities to data driven decisions. </a:t>
            </a:r>
          </a:p>
          <a:p>
            <a:pPr marL="457200" indent="-45720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en-US" dirty="0">
                <a:latin typeface="ITC Avant Garde Pro Md" panose="020B0602020202020204" pitchFamily="34" charset="0"/>
              </a:rPr>
              <a:t>Arora et al. (2020): </a:t>
            </a:r>
            <a:r>
              <a:rPr lang="en-US" dirty="0">
                <a:latin typeface="ITC Avant Garde Pro Bk" panose="020B0502020202020204" pitchFamily="34" charset="0"/>
              </a:rPr>
              <a:t>Nearly half of the best-performing businesses apply BDA weekly or even more frequently.</a:t>
            </a:r>
          </a:p>
        </p:txBody>
      </p:sp>
    </p:spTree>
    <p:extLst>
      <p:ext uri="{BB962C8B-B14F-4D97-AF65-F5344CB8AC3E}">
        <p14:creationId xmlns:p14="http://schemas.microsoft.com/office/powerpoint/2010/main" val="20321947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FD51857-C79F-4CFB-A531-F489F65B23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95243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B01B81-2CD6-4975-AF5D-9EE0272B96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6D2641-81B4-4FA9-AABA-CD0BE301EB4F}" type="slidenum">
              <a:rPr lang="en-US" smtClean="0"/>
              <a:t>13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2B98C35-C258-4CCB-821A-8D315C39E50B}"/>
              </a:ext>
            </a:extLst>
          </p:cNvPr>
          <p:cNvSpPr txBox="1"/>
          <p:nvPr/>
        </p:nvSpPr>
        <p:spPr>
          <a:xfrm>
            <a:off x="688185" y="556502"/>
            <a:ext cx="7410786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ITC Avant Garde Pro Md" panose="020B0602020202020204" pitchFamily="34" charset="0"/>
              </a:rPr>
              <a:t>Assortment for e-commerce platforms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B59354-C56C-41D3-92A2-890A8989478A}"/>
              </a:ext>
            </a:extLst>
          </p:cNvPr>
          <p:cNvCxnSpPr>
            <a:cxnSpLocks/>
          </p:cNvCxnSpPr>
          <p:nvPr/>
        </p:nvCxnSpPr>
        <p:spPr>
          <a:xfrm>
            <a:off x="688185" y="1082000"/>
            <a:ext cx="1101613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4">
            <a:extLst>
              <a:ext uri="{FF2B5EF4-FFF2-40B4-BE49-F238E27FC236}">
                <a16:creationId xmlns:a16="http://schemas.microsoft.com/office/drawing/2014/main" id="{A20D7A31-9BE0-4A82-99C5-B3452051B1FF}"/>
              </a:ext>
            </a:extLst>
          </p:cNvPr>
          <p:cNvSpPr/>
          <p:nvPr/>
        </p:nvSpPr>
        <p:spPr>
          <a:xfrm>
            <a:off x="791054" y="1291006"/>
            <a:ext cx="10609892" cy="41316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en-US" dirty="0">
                <a:latin typeface="ITC Avant Garde Pro Md" panose="020B0602020202020204" pitchFamily="34" charset="0"/>
              </a:rPr>
              <a:t>He, Guo, and Chen (2019): </a:t>
            </a:r>
            <a:r>
              <a:rPr lang="en-US" dirty="0">
                <a:latin typeface="ITC Avant Garde Pro Bk" panose="020B0502020202020204" pitchFamily="34" charset="0"/>
              </a:rPr>
              <a:t>Both too narrow and too broad assortment size can lead to low performance in sales.</a:t>
            </a:r>
          </a:p>
          <a:p>
            <a:pPr marL="457200" indent="-45720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en-US" dirty="0" err="1">
                <a:latin typeface="ITC Avant Garde Pro Md" panose="020B0602020202020204" pitchFamily="34" charset="0"/>
              </a:rPr>
              <a:t>Heese</a:t>
            </a:r>
            <a:r>
              <a:rPr lang="en-US" dirty="0">
                <a:latin typeface="ITC Avant Garde Pro Md" panose="020B0602020202020204" pitchFamily="34" charset="0"/>
              </a:rPr>
              <a:t> and Martínez-de-</a:t>
            </a:r>
            <a:r>
              <a:rPr lang="en-US" dirty="0" err="1">
                <a:latin typeface="ITC Avant Garde Pro Md" panose="020B0602020202020204" pitchFamily="34" charset="0"/>
              </a:rPr>
              <a:t>Albéniz</a:t>
            </a:r>
            <a:r>
              <a:rPr lang="en-US" dirty="0">
                <a:latin typeface="ITC Avant Garde Pro Md" panose="020B0602020202020204" pitchFamily="34" charset="0"/>
              </a:rPr>
              <a:t> (2018): </a:t>
            </a:r>
            <a:r>
              <a:rPr lang="en-US" dirty="0">
                <a:latin typeface="ITC Avant Garde Pro Bk" panose="020B0502020202020204" pitchFamily="34" charset="0"/>
              </a:rPr>
              <a:t>Optimizing the assortment can improve the operational efficiency and fit supply with demand.</a:t>
            </a:r>
          </a:p>
          <a:p>
            <a:pPr marL="457200" indent="-45720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en-US" dirty="0" err="1">
                <a:latin typeface="ITC Avant Garde Pro Md" panose="020B0602020202020204" pitchFamily="34" charset="0"/>
              </a:rPr>
              <a:t>Besbes</a:t>
            </a:r>
            <a:r>
              <a:rPr lang="en-US" dirty="0">
                <a:latin typeface="ITC Avant Garde Pro Md" panose="020B0602020202020204" pitchFamily="34" charset="0"/>
              </a:rPr>
              <a:t> and </a:t>
            </a:r>
            <a:r>
              <a:rPr lang="en-US" dirty="0" err="1">
                <a:latin typeface="ITC Avant Garde Pro Md" panose="020B0602020202020204" pitchFamily="34" charset="0"/>
              </a:rPr>
              <a:t>Sauré</a:t>
            </a:r>
            <a:r>
              <a:rPr lang="en-US" dirty="0">
                <a:latin typeface="ITC Avant Garde Pro Md" panose="020B0602020202020204" pitchFamily="34" charset="0"/>
              </a:rPr>
              <a:t> (2016): </a:t>
            </a:r>
            <a:r>
              <a:rPr lang="en-US" dirty="0">
                <a:latin typeface="ITC Avant Garde Pro Bk" panose="020B0502020202020204" pitchFamily="34" charset="0"/>
              </a:rPr>
              <a:t>Methods of assortment analysis: evaluation of the assortment of competitors and analysis of historical data.</a:t>
            </a:r>
          </a:p>
        </p:txBody>
      </p:sp>
    </p:spTree>
    <p:extLst>
      <p:ext uri="{BB962C8B-B14F-4D97-AF65-F5344CB8AC3E}">
        <p14:creationId xmlns:p14="http://schemas.microsoft.com/office/powerpoint/2010/main" val="13677237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FD51857-C79F-4CFB-A531-F489F65B23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FD51857-C79F-4CFB-A531-F489F65B23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B01B81-2CD6-4975-AF5D-9EE0272B96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6D2641-81B4-4FA9-AABA-CD0BE301EB4F}" type="slidenum">
              <a:rPr lang="en-US" smtClean="0"/>
              <a:t>14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99B0420-ECEA-44BE-92D2-1654AD4E24DC}"/>
              </a:ext>
            </a:extLst>
          </p:cNvPr>
          <p:cNvSpPr txBox="1"/>
          <p:nvPr/>
        </p:nvSpPr>
        <p:spPr>
          <a:xfrm>
            <a:off x="688184" y="556502"/>
            <a:ext cx="10258489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ITC Avant Garde Pro Md" panose="020B0602020202020204" pitchFamily="34" charset="0"/>
              </a:rPr>
              <a:t>Categorization and listing strategies for e-commerc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B648A0B-E189-4D1B-8E56-6317539037C1}"/>
              </a:ext>
            </a:extLst>
          </p:cNvPr>
          <p:cNvCxnSpPr>
            <a:cxnSpLocks/>
          </p:cNvCxnSpPr>
          <p:nvPr/>
        </p:nvCxnSpPr>
        <p:spPr>
          <a:xfrm>
            <a:off x="688185" y="1082000"/>
            <a:ext cx="1101613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4">
            <a:extLst>
              <a:ext uri="{FF2B5EF4-FFF2-40B4-BE49-F238E27FC236}">
                <a16:creationId xmlns:a16="http://schemas.microsoft.com/office/drawing/2014/main" id="{C6F4AE5C-FA1F-4EC7-A055-A296DD91CB79}"/>
              </a:ext>
            </a:extLst>
          </p:cNvPr>
          <p:cNvSpPr/>
          <p:nvPr/>
        </p:nvSpPr>
        <p:spPr>
          <a:xfrm>
            <a:off x="791054" y="1291006"/>
            <a:ext cx="10609892" cy="48241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en-US" dirty="0" err="1">
                <a:latin typeface="ITC Avant Garde Pro Md" panose="020B0602020202020204" pitchFamily="34" charset="0"/>
              </a:rPr>
              <a:t>Holý</a:t>
            </a:r>
            <a:r>
              <a:rPr lang="en-US" dirty="0">
                <a:latin typeface="ITC Avant Garde Pro Md" panose="020B0602020202020204" pitchFamily="34" charset="0"/>
              </a:rPr>
              <a:t>, Sokol, and </a:t>
            </a:r>
            <a:r>
              <a:rPr lang="en-US" dirty="0" err="1">
                <a:latin typeface="ITC Avant Garde Pro Md" panose="020B0602020202020204" pitchFamily="34" charset="0"/>
              </a:rPr>
              <a:t>Černý</a:t>
            </a:r>
            <a:r>
              <a:rPr lang="en-US" dirty="0">
                <a:latin typeface="ITC Avant Garde Pro Md" panose="020B0602020202020204" pitchFamily="34" charset="0"/>
              </a:rPr>
              <a:t> (2017</a:t>
            </a:r>
            <a:r>
              <a:rPr lang="en-US" dirty="0">
                <a:latin typeface="ITC Avant Garde Pro Bk" panose="020B0502020202020204" pitchFamily="34" charset="0"/>
              </a:rPr>
              <a:t>): Applications of product categorization: product development, product promotion, and general investigation of product dependencies.</a:t>
            </a:r>
          </a:p>
          <a:p>
            <a:pPr marL="457200" indent="-45720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en-US" dirty="0" err="1">
                <a:latin typeface="ITC Avant Garde Pro Md" panose="020B0602020202020204" pitchFamily="34" charset="0"/>
              </a:rPr>
              <a:t>Sysoeva</a:t>
            </a:r>
            <a:r>
              <a:rPr lang="en-US" dirty="0">
                <a:latin typeface="ITC Avant Garde Pro Md" panose="020B0602020202020204" pitchFamily="34" charset="0"/>
              </a:rPr>
              <a:t> and </a:t>
            </a:r>
            <a:r>
              <a:rPr lang="en-US" dirty="0" err="1">
                <a:latin typeface="ITC Avant Garde Pro Md" panose="020B0602020202020204" pitchFamily="34" charset="0"/>
              </a:rPr>
              <a:t>Buzukova</a:t>
            </a:r>
            <a:r>
              <a:rPr lang="en-US" dirty="0">
                <a:latin typeface="ITC Avant Garde Pro Md" panose="020B0602020202020204" pitchFamily="34" charset="0"/>
              </a:rPr>
              <a:t> (2019): </a:t>
            </a:r>
            <a:r>
              <a:rPr lang="en-US" dirty="0">
                <a:latin typeface="ITC Avant Garde Pro Bk" panose="020B0502020202020204" pitchFamily="34" charset="0"/>
              </a:rPr>
              <a:t>Products need to be grouped based on the customers perceptions.</a:t>
            </a:r>
          </a:p>
          <a:p>
            <a:pPr marL="457200" indent="-45720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en-US" dirty="0" err="1">
                <a:latin typeface="ITC Avant Garde Pro Md" panose="020B0602020202020204" pitchFamily="34" charset="0"/>
              </a:rPr>
              <a:t>Ristoski</a:t>
            </a:r>
            <a:r>
              <a:rPr lang="en-US" dirty="0">
                <a:latin typeface="ITC Avant Garde Pro Md" panose="020B0602020202020204" pitchFamily="34" charset="0"/>
              </a:rPr>
              <a:t> et al. (2018): </a:t>
            </a:r>
            <a:r>
              <a:rPr lang="en-US" dirty="0">
                <a:latin typeface="ITC Avant Garde Pro Bk" panose="020B0502020202020204" pitchFamily="34" charset="0"/>
              </a:rPr>
              <a:t>Since e-commerce stores have a variety and complexity of assortment, they need to implement modern technologies for product categorization and listing. </a:t>
            </a:r>
          </a:p>
        </p:txBody>
      </p:sp>
    </p:spTree>
    <p:extLst>
      <p:ext uri="{BB962C8B-B14F-4D97-AF65-F5344CB8AC3E}">
        <p14:creationId xmlns:p14="http://schemas.microsoft.com/office/powerpoint/2010/main" val="42153586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FD51857-C79F-4CFB-A531-F489F65B23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FD51857-C79F-4CFB-A531-F489F65B23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B01B81-2CD6-4975-AF5D-9EE0272B96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6D2641-81B4-4FA9-AABA-CD0BE301EB4F}" type="slidenum">
              <a:rPr lang="en-US" smtClean="0"/>
              <a:t>15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8FA40F8-8B6D-436A-AB95-770BBEFDB964}"/>
              </a:ext>
            </a:extLst>
          </p:cNvPr>
          <p:cNvSpPr txBox="1"/>
          <p:nvPr/>
        </p:nvSpPr>
        <p:spPr>
          <a:xfrm>
            <a:off x="688185" y="556502"/>
            <a:ext cx="7410786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ITC Avant Garde Pro Md" panose="020B0602020202020204" pitchFamily="34" charset="0"/>
              </a:rPr>
              <a:t>Web and mobile app ergonomics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5E9CD7F-C9C8-4059-A480-9D01BD1343C2}"/>
              </a:ext>
            </a:extLst>
          </p:cNvPr>
          <p:cNvCxnSpPr>
            <a:cxnSpLocks/>
          </p:cNvCxnSpPr>
          <p:nvPr/>
        </p:nvCxnSpPr>
        <p:spPr>
          <a:xfrm>
            <a:off x="688185" y="1082000"/>
            <a:ext cx="1101613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4">
            <a:extLst>
              <a:ext uri="{FF2B5EF4-FFF2-40B4-BE49-F238E27FC236}">
                <a16:creationId xmlns:a16="http://schemas.microsoft.com/office/drawing/2014/main" id="{9CEA0F58-FADA-45AC-ABA2-7842A76EA157}"/>
              </a:ext>
            </a:extLst>
          </p:cNvPr>
          <p:cNvSpPr/>
          <p:nvPr/>
        </p:nvSpPr>
        <p:spPr>
          <a:xfrm>
            <a:off x="791054" y="1291006"/>
            <a:ext cx="10609892" cy="48189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en-US" dirty="0" err="1">
                <a:latin typeface="ITC Avant Garde Pro Md" panose="020B0602020202020204" pitchFamily="34" charset="0"/>
              </a:rPr>
              <a:t>Shorrock</a:t>
            </a:r>
            <a:r>
              <a:rPr lang="en-US" dirty="0">
                <a:latin typeface="ITC Avant Garde Pro Md" panose="020B0602020202020204" pitchFamily="34" charset="0"/>
              </a:rPr>
              <a:t> and Williams (2016): </a:t>
            </a:r>
            <a:r>
              <a:rPr lang="en-US" dirty="0">
                <a:latin typeface="ITC Avant Garde Pro Bk" panose="020B0502020202020204" pitchFamily="34" charset="0"/>
              </a:rPr>
              <a:t>Ergonomics can include three critical types of constraints: accessibility, usability, and contextual.</a:t>
            </a:r>
          </a:p>
          <a:p>
            <a:pPr marL="457200" indent="-45720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en-US" dirty="0">
                <a:latin typeface="ITC Avant Garde Pro Md" panose="020B0602020202020204" pitchFamily="34" charset="0"/>
              </a:rPr>
              <a:t>Díaz, </a:t>
            </a:r>
            <a:r>
              <a:rPr lang="en-US" dirty="0" err="1">
                <a:latin typeface="ITC Avant Garde Pro Md" panose="020B0602020202020204" pitchFamily="34" charset="0"/>
              </a:rPr>
              <a:t>Rusu</a:t>
            </a:r>
            <a:r>
              <a:rPr lang="en-US" dirty="0">
                <a:latin typeface="ITC Avant Garde Pro Md" panose="020B0602020202020204" pitchFamily="34" charset="0"/>
              </a:rPr>
              <a:t>, and </a:t>
            </a:r>
            <a:r>
              <a:rPr lang="en-US" dirty="0" err="1">
                <a:latin typeface="ITC Avant Garde Pro Md" panose="020B0602020202020204" pitchFamily="34" charset="0"/>
              </a:rPr>
              <a:t>Collazos</a:t>
            </a:r>
            <a:r>
              <a:rPr lang="en-US" dirty="0">
                <a:latin typeface="ITC Avant Garde Pro Md" panose="020B0602020202020204" pitchFamily="34" charset="0"/>
              </a:rPr>
              <a:t> (2017): </a:t>
            </a:r>
            <a:r>
              <a:rPr lang="en-US" dirty="0">
                <a:latin typeface="ITC Avant Garde Pro Bk" panose="020B0502020202020204" pitchFamily="34" charset="0"/>
              </a:rPr>
              <a:t>Cultural factors can be used in designing personalized user interface.</a:t>
            </a:r>
          </a:p>
          <a:p>
            <a:pPr marL="457200" indent="-45720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en-US" dirty="0">
                <a:latin typeface="ITC Avant Garde Pro Md" panose="020B0602020202020204" pitchFamily="34" charset="0"/>
              </a:rPr>
              <a:t>Lin (2014): </a:t>
            </a:r>
            <a:r>
              <a:rPr lang="en-US" dirty="0">
                <a:latin typeface="ITC Avant Garde Pro Bk" panose="020B0502020202020204" pitchFamily="34" charset="0"/>
              </a:rPr>
              <a:t>User and system recommendations positively affect  company’s performance in terms of sales.</a:t>
            </a:r>
          </a:p>
          <a:p>
            <a:pPr marL="457200" indent="-457200">
              <a:lnSpc>
                <a:spcPct val="250000"/>
              </a:lnSpc>
              <a:buFont typeface="Arial" panose="020B0604020202020204" pitchFamily="34" charset="0"/>
              <a:buChar char="•"/>
            </a:pPr>
            <a:endParaRPr lang="en-US" dirty="0">
              <a:latin typeface="ITC Avant Garde Pro Bk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68747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8188AD-9094-4C66-BE47-9C889B1594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8188AD-9094-4C66-BE47-9C889B1594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66584611-B9BD-493F-90BA-81739C2DC2FB}"/>
              </a:ext>
            </a:extLst>
          </p:cNvPr>
          <p:cNvSpPr/>
          <p:nvPr/>
        </p:nvSpPr>
        <p:spPr>
          <a:xfrm>
            <a:off x="10485296" y="0"/>
            <a:ext cx="1706704" cy="6858000"/>
          </a:xfrm>
          <a:prstGeom prst="rect">
            <a:avLst/>
          </a:prstGeom>
          <a:solidFill>
            <a:srgbClr val="1B26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885B069-12B1-4D5E-A241-F108F36069DA}"/>
              </a:ext>
            </a:extLst>
          </p:cNvPr>
          <p:cNvSpPr txBox="1"/>
          <p:nvPr/>
        </p:nvSpPr>
        <p:spPr>
          <a:xfrm>
            <a:off x="601013" y="5176290"/>
            <a:ext cx="9679456" cy="10156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6000" dirty="0">
                <a:solidFill>
                  <a:srgbClr val="1B262A"/>
                </a:solidFill>
                <a:latin typeface="ITC Avant Garde Pro Md" panose="020B0602020202020204" pitchFamily="34" charset="0"/>
              </a:rPr>
              <a:t>Research methodology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4B60A28-A434-42BB-A331-28E026EE266B}"/>
              </a:ext>
            </a:extLst>
          </p:cNvPr>
          <p:cNvSpPr txBox="1"/>
          <p:nvPr/>
        </p:nvSpPr>
        <p:spPr>
          <a:xfrm>
            <a:off x="461549" y="2870199"/>
            <a:ext cx="1759131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0" dirty="0">
                <a:solidFill>
                  <a:srgbClr val="1B262A"/>
                </a:solidFill>
                <a:latin typeface="Bahnschrift SemiLight Condensed" panose="020B0502040204020203" pitchFamily="34" charset="0"/>
              </a:rPr>
              <a:t>0</a:t>
            </a:r>
            <a:r>
              <a:rPr lang="ru-RU" sz="15000" dirty="0">
                <a:solidFill>
                  <a:srgbClr val="1B262A"/>
                </a:solidFill>
                <a:latin typeface="Bahnschrift SemiLight Condensed" panose="020B0502040204020203" pitchFamily="34" charset="0"/>
              </a:rPr>
              <a:t>3</a:t>
            </a:r>
            <a:endParaRPr lang="en-US" sz="15000" dirty="0">
              <a:solidFill>
                <a:srgbClr val="1B262A"/>
              </a:solidFill>
              <a:latin typeface="Bahnschrift SemiLight Condensed" panose="020B0502040204020203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4FB14AC-2965-4DDD-8D03-E223F89262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6D2641-81B4-4FA9-AABA-CD0BE301EB4F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67582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3F652A-5CFF-47EE-91E8-DE069BD9DB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3F652A-5CFF-47EE-91E8-DE069BD9DB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6A6A3A1A-8309-406A-BDFC-EFE31AB01A04}"/>
              </a:ext>
            </a:extLst>
          </p:cNvPr>
          <p:cNvSpPr txBox="1"/>
          <p:nvPr/>
        </p:nvSpPr>
        <p:spPr>
          <a:xfrm>
            <a:off x="688184" y="556502"/>
            <a:ext cx="8547255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1B262A"/>
                </a:solidFill>
                <a:latin typeface="ITC Avant Garde Pro Md" panose="020B0602020202020204" pitchFamily="34" charset="0"/>
              </a:rPr>
              <a:t>Research framework and methodolog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5A4A44D-7D7C-4CDA-B549-1229BCF9AE5C}"/>
              </a:ext>
            </a:extLst>
          </p:cNvPr>
          <p:cNvCxnSpPr>
            <a:cxnSpLocks/>
          </p:cNvCxnSpPr>
          <p:nvPr/>
        </p:nvCxnSpPr>
        <p:spPr>
          <a:xfrm>
            <a:off x="688185" y="1082000"/>
            <a:ext cx="1101613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DD2876F-8452-4E28-A797-0FD969D898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6D2641-81B4-4FA9-AABA-CD0BE301EB4F}" type="slidenum">
              <a:rPr lang="en-US" smtClean="0"/>
              <a:t>17</a:t>
            </a:fld>
            <a:endParaRPr lang="en-US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6927748-BEEF-4DE7-B007-71D7376C82AF}"/>
              </a:ext>
            </a:extLst>
          </p:cNvPr>
          <p:cNvGrpSpPr/>
          <p:nvPr/>
        </p:nvGrpSpPr>
        <p:grpSpPr>
          <a:xfrm>
            <a:off x="688184" y="1476117"/>
            <a:ext cx="3391887" cy="4519734"/>
            <a:chOff x="688184" y="1476117"/>
            <a:chExt cx="3391887" cy="4519734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60FD2B35-B1F8-4A57-96ED-969F1F0EDAF9}"/>
                </a:ext>
              </a:extLst>
            </p:cNvPr>
            <p:cNvSpPr/>
            <p:nvPr/>
          </p:nvSpPr>
          <p:spPr>
            <a:xfrm>
              <a:off x="688184" y="1476117"/>
              <a:ext cx="3391887" cy="451973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rgbClr val="1B26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1B262A"/>
                </a:solidFill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D4625542-2097-4879-8E50-15BE76101216}"/>
                </a:ext>
              </a:extLst>
            </p:cNvPr>
            <p:cNvSpPr txBox="1"/>
            <p:nvPr/>
          </p:nvSpPr>
          <p:spPr>
            <a:xfrm>
              <a:off x="871221" y="4232810"/>
              <a:ext cx="3025811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latin typeface="ITC Avant Garde Pro Md" panose="020B0602020202020204" pitchFamily="34" charset="0"/>
                </a:rPr>
                <a:t>Data Collection and Preprocessing</a:t>
              </a:r>
              <a:endParaRPr lang="ru-RU" dirty="0"/>
            </a:p>
          </p:txBody>
        </p:sp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81FA9ACA-F87E-454E-98A5-C55580322E9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566833" y="2077900"/>
              <a:ext cx="1634586" cy="1634586"/>
            </a:xfrm>
            <a:prstGeom prst="rect">
              <a:avLst/>
            </a:prstGeom>
          </p:spPr>
        </p:pic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DFD7CE2-E32D-4747-81EB-47C760D64CBB}"/>
              </a:ext>
            </a:extLst>
          </p:cNvPr>
          <p:cNvGrpSpPr/>
          <p:nvPr/>
        </p:nvGrpSpPr>
        <p:grpSpPr>
          <a:xfrm>
            <a:off x="4517831" y="1476117"/>
            <a:ext cx="3374364" cy="4519734"/>
            <a:chOff x="4517831" y="1476117"/>
            <a:chExt cx="3374364" cy="4519734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1F9B2EF-84D2-465B-BCC5-3D315F81AC40}"/>
                </a:ext>
              </a:extLst>
            </p:cNvPr>
            <p:cNvSpPr/>
            <p:nvPr/>
          </p:nvSpPr>
          <p:spPr>
            <a:xfrm>
              <a:off x="4517831" y="1476117"/>
              <a:ext cx="3374364" cy="4519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rgbClr val="1B26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AC5F2EF4-9854-41E3-8928-5BF1032E9EF6}"/>
                </a:ext>
              </a:extLst>
            </p:cNvPr>
            <p:cNvSpPr txBox="1"/>
            <p:nvPr/>
          </p:nvSpPr>
          <p:spPr>
            <a:xfrm>
              <a:off x="4517831" y="4251960"/>
              <a:ext cx="337436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latin typeface="ITC Avant Garde Pro Md" panose="020B0602020202020204" pitchFamily="34" charset="0"/>
                </a:rPr>
                <a:t>Data processing, analysis, and inference</a:t>
              </a:r>
            </a:p>
          </p:txBody>
        </p:sp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C4B6B28D-ACA4-4B70-BFFE-179C8077F5F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387718" y="2101394"/>
              <a:ext cx="1634590" cy="1634590"/>
            </a:xfrm>
            <a:prstGeom prst="rect">
              <a:avLst/>
            </a:prstGeom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E06D9D13-4683-400D-A5C2-30ECB40E2EFA}"/>
              </a:ext>
            </a:extLst>
          </p:cNvPr>
          <p:cNvGrpSpPr/>
          <p:nvPr/>
        </p:nvGrpSpPr>
        <p:grpSpPr>
          <a:xfrm>
            <a:off x="8329956" y="1476117"/>
            <a:ext cx="3374364" cy="4519734"/>
            <a:chOff x="8329956" y="1476117"/>
            <a:chExt cx="3374364" cy="4519734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8049DB0A-E5D7-4E71-BCA9-AFBA8CEEC31F}"/>
                </a:ext>
              </a:extLst>
            </p:cNvPr>
            <p:cNvSpPr/>
            <p:nvPr/>
          </p:nvSpPr>
          <p:spPr>
            <a:xfrm>
              <a:off x="8329956" y="1476117"/>
              <a:ext cx="3374364" cy="4519734"/>
            </a:xfrm>
            <a:prstGeom prst="rect">
              <a:avLst/>
            </a:prstGeom>
            <a:noFill/>
            <a:ln>
              <a:solidFill>
                <a:srgbClr val="1B26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F715C47-C81F-4928-8C9A-526B3A325DBD}"/>
                </a:ext>
              </a:extLst>
            </p:cNvPr>
            <p:cNvSpPr txBox="1"/>
            <p:nvPr/>
          </p:nvSpPr>
          <p:spPr>
            <a:xfrm>
              <a:off x="8329956" y="4371309"/>
              <a:ext cx="337436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latin typeface="ITC Avant Garde Pro Md" panose="020B0602020202020204" pitchFamily="34" charset="0"/>
                </a:rPr>
                <a:t>Data Visualization</a:t>
              </a:r>
            </a:p>
          </p:txBody>
        </p:sp>
        <p:pic>
          <p:nvPicPr>
            <p:cNvPr id="17" name="Graphic 16">
              <a:extLst>
                <a:ext uri="{FF2B5EF4-FFF2-40B4-BE49-F238E27FC236}">
                  <a16:creationId xmlns:a16="http://schemas.microsoft.com/office/drawing/2014/main" id="{C0A4A6AB-35C2-4E00-9DED-C378B9F5AC4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9199843" y="2106418"/>
              <a:ext cx="1634590" cy="163459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917976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3F652A-5CFF-47EE-91E8-DE069BD9DB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3F652A-5CFF-47EE-91E8-DE069BD9DB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6A6A3A1A-8309-406A-BDFC-EFE31AB01A04}"/>
              </a:ext>
            </a:extLst>
          </p:cNvPr>
          <p:cNvSpPr txBox="1"/>
          <p:nvPr/>
        </p:nvSpPr>
        <p:spPr>
          <a:xfrm>
            <a:off x="688185" y="556502"/>
            <a:ext cx="7410786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1B262A"/>
                </a:solidFill>
                <a:latin typeface="ITC Avant Garde Pro Md" panose="020B0602020202020204" pitchFamily="34" charset="0"/>
              </a:rPr>
              <a:t>Data Collection and Preprocessing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FD2B35-B1F8-4A57-96ED-969F1F0EDAF9}"/>
              </a:ext>
            </a:extLst>
          </p:cNvPr>
          <p:cNvSpPr/>
          <p:nvPr/>
        </p:nvSpPr>
        <p:spPr>
          <a:xfrm>
            <a:off x="799825" y="1827403"/>
            <a:ext cx="3262723" cy="105800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rgbClr val="1B26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1B262A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1F9B2EF-84D2-465B-BCC5-3D315F81AC40}"/>
              </a:ext>
            </a:extLst>
          </p:cNvPr>
          <p:cNvSpPr/>
          <p:nvPr/>
        </p:nvSpPr>
        <p:spPr>
          <a:xfrm>
            <a:off x="4495935" y="1827403"/>
            <a:ext cx="3374364" cy="105800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rgbClr val="1B26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1B262A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049DB0A-E5D7-4E71-BCA9-AFBA8CEEC31F}"/>
              </a:ext>
            </a:extLst>
          </p:cNvPr>
          <p:cNvSpPr/>
          <p:nvPr/>
        </p:nvSpPr>
        <p:spPr>
          <a:xfrm>
            <a:off x="8329956" y="1843918"/>
            <a:ext cx="3262723" cy="105800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rgbClr val="1B26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1B262A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86C81B7-286C-4F01-A66E-58F0915EA129}"/>
              </a:ext>
            </a:extLst>
          </p:cNvPr>
          <p:cNvSpPr txBox="1"/>
          <p:nvPr/>
        </p:nvSpPr>
        <p:spPr>
          <a:xfrm>
            <a:off x="799826" y="2124346"/>
            <a:ext cx="315623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ITC Avant Garde Pro Md" panose="020B0602020202020204" pitchFamily="34" charset="0"/>
              </a:rPr>
              <a:t>Offline vs. Online sales analysi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DED2DE6-D769-4F4C-A179-CAD3E468A534}"/>
              </a:ext>
            </a:extLst>
          </p:cNvPr>
          <p:cNvSpPr txBox="1"/>
          <p:nvPr/>
        </p:nvSpPr>
        <p:spPr>
          <a:xfrm>
            <a:off x="4511647" y="2080531"/>
            <a:ext cx="335865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ITC Avant Garde Pro Md" panose="020B0602020202020204" pitchFamily="34" charset="0"/>
              </a:rPr>
              <a:t>Competitor analysis;</a:t>
            </a:r>
          </a:p>
          <a:p>
            <a:pPr algn="ctr"/>
            <a:r>
              <a:rPr lang="en-US" sz="1600" dirty="0">
                <a:latin typeface="ITC Avant Garde Pro Md" panose="020B0602020202020204" pitchFamily="34" charset="0"/>
              </a:rPr>
              <a:t>categorization, listing algorithm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7E80C92-7B91-482E-998B-426F17F689ED}"/>
              </a:ext>
            </a:extLst>
          </p:cNvPr>
          <p:cNvSpPr txBox="1"/>
          <p:nvPr/>
        </p:nvSpPr>
        <p:spPr>
          <a:xfrm>
            <a:off x="8607515" y="2203641"/>
            <a:ext cx="293810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ITC Avant Garde Pro Md" panose="020B0602020202020204" pitchFamily="34" charset="0"/>
              </a:rPr>
              <a:t>Mobile app ergonomic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9D32375-53C6-4AA3-82DC-97ADB237FF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6D2641-81B4-4FA9-AABA-CD0BE301EB4F}" type="slidenum">
              <a:rPr lang="en-US" smtClean="0"/>
              <a:t>18</a:t>
            </a:fld>
            <a:endParaRPr lang="en-US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D178EB37-EF49-4925-B442-2A9E3DB92409}"/>
              </a:ext>
            </a:extLst>
          </p:cNvPr>
          <p:cNvCxnSpPr>
            <a:cxnSpLocks/>
          </p:cNvCxnSpPr>
          <p:nvPr/>
        </p:nvCxnSpPr>
        <p:spPr>
          <a:xfrm>
            <a:off x="688185" y="1082000"/>
            <a:ext cx="1101613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CE9ABAE-491B-4E8A-8924-F2787124376F}"/>
              </a:ext>
            </a:extLst>
          </p:cNvPr>
          <p:cNvGrpSpPr/>
          <p:nvPr/>
        </p:nvGrpSpPr>
        <p:grpSpPr>
          <a:xfrm>
            <a:off x="1254493" y="3676233"/>
            <a:ext cx="1732547" cy="1732547"/>
            <a:chOff x="1163052" y="2390273"/>
            <a:chExt cx="1732547" cy="1732547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0A687F0E-14F3-4173-A78D-A6ABDC16B660}"/>
                </a:ext>
              </a:extLst>
            </p:cNvPr>
            <p:cNvSpPr/>
            <p:nvPr/>
          </p:nvSpPr>
          <p:spPr>
            <a:xfrm>
              <a:off x="1163052" y="2390273"/>
              <a:ext cx="1732547" cy="1732547"/>
            </a:xfrm>
            <a:prstGeom prst="rect">
              <a:avLst/>
            </a:prstGeom>
            <a:solidFill>
              <a:srgbClr val="1B26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96A857F-97AD-4069-96AC-A1D57F60B2E8}"/>
                </a:ext>
              </a:extLst>
            </p:cNvPr>
            <p:cNvSpPr/>
            <p:nvPr/>
          </p:nvSpPr>
          <p:spPr>
            <a:xfrm>
              <a:off x="1312445" y="2566737"/>
              <a:ext cx="1430755" cy="1379621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8F6F0075-67FD-4896-8118-79DEA5135898}"/>
                </a:ext>
              </a:extLst>
            </p:cNvPr>
            <p:cNvSpPr txBox="1"/>
            <p:nvPr/>
          </p:nvSpPr>
          <p:spPr>
            <a:xfrm>
              <a:off x="1643670" y="2584094"/>
              <a:ext cx="768303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6000" dirty="0">
                  <a:solidFill>
                    <a:schemeClr val="bg1"/>
                  </a:solidFill>
                  <a:latin typeface="Bahnschrift SemiBold SemiConden" panose="020B0502040204020203" pitchFamily="34" charset="0"/>
                </a:rPr>
                <a:t>16</a:t>
              </a:r>
              <a:endParaRPr lang="en-US" sz="2800" dirty="0">
                <a:solidFill>
                  <a:schemeClr val="bg1"/>
                </a:solidFill>
                <a:latin typeface="Bahnschrift SemiBold SemiConden" panose="020B0502040204020203" pitchFamily="34" charset="0"/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401EE709-9100-4D2C-B71D-665F89B761BB}"/>
              </a:ext>
            </a:extLst>
          </p:cNvPr>
          <p:cNvGrpSpPr/>
          <p:nvPr/>
        </p:nvGrpSpPr>
        <p:grpSpPr>
          <a:xfrm>
            <a:off x="3965609" y="3676233"/>
            <a:ext cx="1732547" cy="1732547"/>
            <a:chOff x="3874168" y="2390273"/>
            <a:chExt cx="1732547" cy="1732547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500A2E32-79A7-45FE-B011-2A2B39E79C0C}"/>
                </a:ext>
              </a:extLst>
            </p:cNvPr>
            <p:cNvSpPr/>
            <p:nvPr/>
          </p:nvSpPr>
          <p:spPr>
            <a:xfrm>
              <a:off x="3874168" y="2390273"/>
              <a:ext cx="1732547" cy="1732547"/>
            </a:xfrm>
            <a:prstGeom prst="rect">
              <a:avLst/>
            </a:prstGeom>
            <a:solidFill>
              <a:srgbClr val="1B26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67802E15-96DC-4649-8597-2157F0AA7FFD}"/>
                </a:ext>
              </a:extLst>
            </p:cNvPr>
            <p:cNvSpPr/>
            <p:nvPr/>
          </p:nvSpPr>
          <p:spPr>
            <a:xfrm>
              <a:off x="4025063" y="2566737"/>
              <a:ext cx="1430755" cy="1379621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A8581B06-F198-4810-A815-039F67374743}"/>
                </a:ext>
              </a:extLst>
            </p:cNvPr>
            <p:cNvSpPr txBox="1"/>
            <p:nvPr/>
          </p:nvSpPr>
          <p:spPr>
            <a:xfrm>
              <a:off x="4192647" y="2564985"/>
              <a:ext cx="1141700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6000" dirty="0">
                  <a:solidFill>
                    <a:schemeClr val="bg1"/>
                  </a:solidFill>
                  <a:latin typeface="Bahnschrift SemiBold SemiConden" panose="020B0502040204020203" pitchFamily="34" charset="0"/>
                </a:rPr>
                <a:t>10</a:t>
              </a:r>
              <a:r>
                <a:rPr lang="en-US" sz="3600" dirty="0">
                  <a:solidFill>
                    <a:schemeClr val="bg1"/>
                  </a:solidFill>
                  <a:latin typeface="Bahnschrift SemiBold SemiConden" panose="020B0502040204020203" pitchFamily="34" charset="0"/>
                </a:rPr>
                <a:t>m</a:t>
              </a:r>
              <a:endParaRPr lang="en-US" sz="2800" dirty="0">
                <a:solidFill>
                  <a:schemeClr val="bg1"/>
                </a:solidFill>
                <a:latin typeface="Bahnschrift SemiBold SemiConden" panose="020B0502040204020203" pitchFamily="34" charset="0"/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8DBDF252-5D26-4DEC-ACFB-F726906B3C79}"/>
              </a:ext>
            </a:extLst>
          </p:cNvPr>
          <p:cNvGrpSpPr/>
          <p:nvPr/>
        </p:nvGrpSpPr>
        <p:grpSpPr>
          <a:xfrm>
            <a:off x="6676725" y="3676233"/>
            <a:ext cx="1766524" cy="1732547"/>
            <a:chOff x="6585284" y="2390273"/>
            <a:chExt cx="1766524" cy="1732547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11369C54-C039-4077-B9AE-EEE1B9483642}"/>
                </a:ext>
              </a:extLst>
            </p:cNvPr>
            <p:cNvSpPr/>
            <p:nvPr/>
          </p:nvSpPr>
          <p:spPr>
            <a:xfrm>
              <a:off x="6585284" y="2390273"/>
              <a:ext cx="1732547" cy="1732547"/>
            </a:xfrm>
            <a:prstGeom prst="rect">
              <a:avLst/>
            </a:prstGeom>
            <a:solidFill>
              <a:srgbClr val="1B26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C07C382C-385A-4BE5-A6D4-17B337A41BA0}"/>
                </a:ext>
              </a:extLst>
            </p:cNvPr>
            <p:cNvSpPr/>
            <p:nvPr/>
          </p:nvSpPr>
          <p:spPr>
            <a:xfrm>
              <a:off x="6736179" y="2566737"/>
              <a:ext cx="1430755" cy="1379621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1A9C0ED5-9A15-4891-A9E0-E7C62DBC20E1}"/>
                </a:ext>
              </a:extLst>
            </p:cNvPr>
            <p:cNvSpPr txBox="1"/>
            <p:nvPr/>
          </p:nvSpPr>
          <p:spPr>
            <a:xfrm>
              <a:off x="6771661" y="2564984"/>
              <a:ext cx="1580147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6000" dirty="0">
                  <a:solidFill>
                    <a:schemeClr val="bg1"/>
                  </a:solidFill>
                  <a:latin typeface="Bahnschrift SemiBold SemiConden" panose="020B0502040204020203" pitchFamily="34" charset="0"/>
                </a:rPr>
                <a:t>4</a:t>
              </a:r>
              <a:r>
                <a:rPr lang="ru-RU" sz="2400" dirty="0">
                  <a:solidFill>
                    <a:schemeClr val="bg1"/>
                  </a:solidFill>
                  <a:latin typeface="Bahnschrift SemiBold SemiConden" panose="020B0502040204020203" pitchFamily="34" charset="0"/>
                </a:rPr>
                <a:t> </a:t>
              </a:r>
              <a:r>
                <a:rPr lang="en-US" sz="2400" dirty="0">
                  <a:solidFill>
                    <a:schemeClr val="bg1"/>
                  </a:solidFill>
                  <a:latin typeface="Bahnschrift SemiBold SemiConden" panose="020B0502040204020203" pitchFamily="34" charset="0"/>
                </a:rPr>
                <a:t>weeks</a:t>
              </a:r>
              <a:endParaRPr lang="en-US" sz="2800" dirty="0">
                <a:solidFill>
                  <a:schemeClr val="bg1"/>
                </a:solidFill>
                <a:latin typeface="Bahnschrift SemiBold SemiConden" panose="020B0502040204020203" pitchFamily="34" charset="0"/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BB278EE7-5BA8-47CC-8EC7-406FC6E53980}"/>
              </a:ext>
            </a:extLst>
          </p:cNvPr>
          <p:cNvGrpSpPr/>
          <p:nvPr/>
        </p:nvGrpSpPr>
        <p:grpSpPr>
          <a:xfrm>
            <a:off x="9387841" y="3676233"/>
            <a:ext cx="1841976" cy="1732547"/>
            <a:chOff x="9296400" y="2390273"/>
            <a:chExt cx="1841976" cy="1732547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F5B56D5F-F70A-40BA-8468-1E497DE847DA}"/>
                </a:ext>
              </a:extLst>
            </p:cNvPr>
            <p:cNvSpPr/>
            <p:nvPr/>
          </p:nvSpPr>
          <p:spPr>
            <a:xfrm>
              <a:off x="9296400" y="2390273"/>
              <a:ext cx="1732547" cy="1732547"/>
            </a:xfrm>
            <a:prstGeom prst="rect">
              <a:avLst/>
            </a:prstGeom>
            <a:solidFill>
              <a:srgbClr val="1B26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49F83134-62C0-43C1-BABB-120A71D41EDD}"/>
                </a:ext>
              </a:extLst>
            </p:cNvPr>
            <p:cNvSpPr/>
            <p:nvPr/>
          </p:nvSpPr>
          <p:spPr>
            <a:xfrm>
              <a:off x="9448800" y="2566737"/>
              <a:ext cx="1430755" cy="1379621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9C73BB55-1FA2-4F77-9DF1-A7FBC7969859}"/>
                </a:ext>
              </a:extLst>
            </p:cNvPr>
            <p:cNvSpPr txBox="1"/>
            <p:nvPr/>
          </p:nvSpPr>
          <p:spPr>
            <a:xfrm>
              <a:off x="9605438" y="2564983"/>
              <a:ext cx="1532938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6000" dirty="0">
                  <a:solidFill>
                    <a:schemeClr val="bg1"/>
                  </a:solidFill>
                  <a:latin typeface="Bahnschrift SemiBold SemiConden" panose="020B0502040204020203" pitchFamily="34" charset="0"/>
                </a:rPr>
                <a:t>26</a:t>
              </a:r>
              <a:r>
                <a:rPr lang="en-US" sz="3600" dirty="0">
                  <a:solidFill>
                    <a:schemeClr val="bg1"/>
                  </a:solidFill>
                  <a:latin typeface="Bahnschrift SemiBold SemiConden" panose="020B0502040204020203" pitchFamily="34" charset="0"/>
                </a:rPr>
                <a:t>k</a:t>
              </a:r>
              <a:endParaRPr lang="en-US" sz="2800" dirty="0">
                <a:solidFill>
                  <a:schemeClr val="bg1"/>
                </a:solidFill>
                <a:latin typeface="Bahnschrift SemiBold SemiConden" panose="020B0502040204020203" pitchFamily="34" charset="0"/>
              </a:endParaRPr>
            </a:p>
          </p:txBody>
        </p: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2708F7B9-93E6-40FF-9372-AA27D211C826}"/>
              </a:ext>
            </a:extLst>
          </p:cNvPr>
          <p:cNvSpPr txBox="1"/>
          <p:nvPr/>
        </p:nvSpPr>
        <p:spPr>
          <a:xfrm>
            <a:off x="1403887" y="4783776"/>
            <a:ext cx="143075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ITC Avant Garde Pro Bk" panose="020B0502020202020204" pitchFamily="34" charset="0"/>
              </a:rPr>
              <a:t>Dataset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A79CD9F-E8C0-49FB-A1DB-9FF63A58F6C1}"/>
              </a:ext>
            </a:extLst>
          </p:cNvPr>
          <p:cNvSpPr txBox="1"/>
          <p:nvPr/>
        </p:nvSpPr>
        <p:spPr>
          <a:xfrm>
            <a:off x="4122755" y="4783776"/>
            <a:ext cx="143075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ITC Avant Garde Pro Bk" panose="020B0502020202020204" pitchFamily="34" charset="0"/>
              </a:rPr>
              <a:t>rows of data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577EBBEF-A95F-4C19-B850-C99B3CCD2515}"/>
              </a:ext>
            </a:extLst>
          </p:cNvPr>
          <p:cNvSpPr txBox="1"/>
          <p:nvPr/>
        </p:nvSpPr>
        <p:spPr>
          <a:xfrm>
            <a:off x="6827620" y="4732180"/>
            <a:ext cx="14307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ITC Avant Garde Pro Bk" panose="020B0502020202020204" pitchFamily="34" charset="0"/>
              </a:rPr>
              <a:t>manual data collection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3E74AFC-4688-4769-837E-53B52FC4DFE6}"/>
              </a:ext>
            </a:extLst>
          </p:cNvPr>
          <p:cNvSpPr txBox="1"/>
          <p:nvPr/>
        </p:nvSpPr>
        <p:spPr>
          <a:xfrm>
            <a:off x="9540242" y="4732180"/>
            <a:ext cx="14307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ITC Avant Garde Pro Bk" panose="020B0502020202020204" pitchFamily="34" charset="0"/>
              </a:rPr>
              <a:t>sanitized products data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4154DE5-EA24-4E5E-A6F0-86A688AF861F}"/>
              </a:ext>
            </a:extLst>
          </p:cNvPr>
          <p:cNvSpPr/>
          <p:nvPr/>
        </p:nvSpPr>
        <p:spPr>
          <a:xfrm>
            <a:off x="799825" y="3261643"/>
            <a:ext cx="10792854" cy="264276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40785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12" grpId="0"/>
      <p:bldP spid="13" grpId="0"/>
      <p:bldP spid="14" grpId="0"/>
      <p:bldP spid="11" grpId="0"/>
      <p:bldP spid="34" grpId="0"/>
      <p:bldP spid="35" grpId="0"/>
      <p:bldP spid="36" grpId="0"/>
      <p:bldP spid="37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CB947FD-7547-46B3-B986-A1093FC0D42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CB947FD-7547-46B3-B986-A1093FC0D4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24089C08-8E8A-4CB5-B840-11BDAED137E0}"/>
              </a:ext>
            </a:extLst>
          </p:cNvPr>
          <p:cNvSpPr txBox="1"/>
          <p:nvPr/>
        </p:nvSpPr>
        <p:spPr>
          <a:xfrm>
            <a:off x="688185" y="556502"/>
            <a:ext cx="8782386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1B262A"/>
                </a:solidFill>
                <a:latin typeface="ITC Avant Garde Pro Md" panose="020B0602020202020204" pitchFamily="34" charset="0"/>
              </a:rPr>
              <a:t>Data Analysis and Data Analytics tool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54EC240-EA5F-4DB1-AA2C-0C535D373808}"/>
              </a:ext>
            </a:extLst>
          </p:cNvPr>
          <p:cNvSpPr/>
          <p:nvPr/>
        </p:nvSpPr>
        <p:spPr>
          <a:xfrm>
            <a:off x="688187" y="1471450"/>
            <a:ext cx="2459965" cy="1198331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rgbClr val="1B26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1B262A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8A9BAA8-D51A-437A-86C7-64E2F929D5B5}"/>
              </a:ext>
            </a:extLst>
          </p:cNvPr>
          <p:cNvSpPr/>
          <p:nvPr/>
        </p:nvSpPr>
        <p:spPr>
          <a:xfrm>
            <a:off x="3570720" y="1471450"/>
            <a:ext cx="2459965" cy="1198331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rgbClr val="1B26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1B262A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5B2A86A-95E7-419E-95D9-7437345D02BB}"/>
              </a:ext>
            </a:extLst>
          </p:cNvPr>
          <p:cNvSpPr/>
          <p:nvPr/>
        </p:nvSpPr>
        <p:spPr>
          <a:xfrm>
            <a:off x="6435846" y="1471450"/>
            <a:ext cx="2459965" cy="1198331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rgbClr val="1B26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1B262A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34AAAAF-CB63-4349-BC52-F37B62861B07}"/>
              </a:ext>
            </a:extLst>
          </p:cNvPr>
          <p:cNvSpPr/>
          <p:nvPr/>
        </p:nvSpPr>
        <p:spPr>
          <a:xfrm>
            <a:off x="9244361" y="1471450"/>
            <a:ext cx="2459965" cy="1198331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rgbClr val="1B26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1B262A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F552EF8-3095-44BA-85EB-C36026DDE169}"/>
              </a:ext>
            </a:extLst>
          </p:cNvPr>
          <p:cNvSpPr txBox="1"/>
          <p:nvPr/>
        </p:nvSpPr>
        <p:spPr>
          <a:xfrm>
            <a:off x="688186" y="1834691"/>
            <a:ext cx="245996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ITC Avant Garde Pro Md" panose="020B0602020202020204" pitchFamily="34" charset="0"/>
              </a:rPr>
              <a:t>Offline vs. Online sales analysi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A1B2588-3839-4D62-A937-08B52EF15841}"/>
              </a:ext>
            </a:extLst>
          </p:cNvPr>
          <p:cNvSpPr txBox="1"/>
          <p:nvPr/>
        </p:nvSpPr>
        <p:spPr>
          <a:xfrm>
            <a:off x="3570719" y="1942413"/>
            <a:ext cx="24599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ITC Avant Garde Pro Md" panose="020B0602020202020204" pitchFamily="34" charset="0"/>
              </a:rPr>
              <a:t>Competitor Analysi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BD8D6B8-963F-45E9-AB1F-FB03C78EFE89}"/>
              </a:ext>
            </a:extLst>
          </p:cNvPr>
          <p:cNvSpPr txBox="1"/>
          <p:nvPr/>
        </p:nvSpPr>
        <p:spPr>
          <a:xfrm>
            <a:off x="9244355" y="1814456"/>
            <a:ext cx="245996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ITC Avant Garde Pro Md" panose="020B0602020202020204" pitchFamily="34" charset="0"/>
              </a:rPr>
              <a:t>Mobile app ergonomics analysi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5E396F0-9030-42EA-B3C5-908FE75F818B}"/>
              </a:ext>
            </a:extLst>
          </p:cNvPr>
          <p:cNvSpPr txBox="1"/>
          <p:nvPr/>
        </p:nvSpPr>
        <p:spPr>
          <a:xfrm>
            <a:off x="6435843" y="1820426"/>
            <a:ext cx="245996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ITC Avant Garde Pro Md" panose="020B0602020202020204" pitchFamily="34" charset="0"/>
              </a:rPr>
              <a:t>Categorization and listing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5F550AB-793D-468E-825D-F1DC031F238A}"/>
              </a:ext>
            </a:extLst>
          </p:cNvPr>
          <p:cNvSpPr/>
          <p:nvPr/>
        </p:nvSpPr>
        <p:spPr>
          <a:xfrm>
            <a:off x="688185" y="2926087"/>
            <a:ext cx="2459965" cy="3178119"/>
          </a:xfrm>
          <a:prstGeom prst="rect">
            <a:avLst/>
          </a:prstGeom>
          <a:noFill/>
          <a:ln>
            <a:solidFill>
              <a:srgbClr val="1B26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4B9104F-33D9-4602-9FD3-2A9B8942ED68}"/>
              </a:ext>
            </a:extLst>
          </p:cNvPr>
          <p:cNvSpPr/>
          <p:nvPr/>
        </p:nvSpPr>
        <p:spPr>
          <a:xfrm>
            <a:off x="3570718" y="2926087"/>
            <a:ext cx="2459965" cy="3178119"/>
          </a:xfrm>
          <a:prstGeom prst="rect">
            <a:avLst/>
          </a:prstGeom>
          <a:noFill/>
          <a:ln>
            <a:solidFill>
              <a:srgbClr val="1B26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E83892F-BB6D-4514-9F86-5E318288B5F4}"/>
              </a:ext>
            </a:extLst>
          </p:cNvPr>
          <p:cNvSpPr/>
          <p:nvPr/>
        </p:nvSpPr>
        <p:spPr>
          <a:xfrm>
            <a:off x="6435842" y="2926087"/>
            <a:ext cx="2459965" cy="3178119"/>
          </a:xfrm>
          <a:prstGeom prst="rect">
            <a:avLst/>
          </a:prstGeom>
          <a:noFill/>
          <a:ln>
            <a:solidFill>
              <a:srgbClr val="1B26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2AA0F96-74E7-4740-BF77-138FE21E0455}"/>
              </a:ext>
            </a:extLst>
          </p:cNvPr>
          <p:cNvSpPr/>
          <p:nvPr/>
        </p:nvSpPr>
        <p:spPr>
          <a:xfrm>
            <a:off x="9244355" y="2926087"/>
            <a:ext cx="2459965" cy="3178119"/>
          </a:xfrm>
          <a:prstGeom prst="rect">
            <a:avLst/>
          </a:prstGeom>
          <a:noFill/>
          <a:ln>
            <a:solidFill>
              <a:srgbClr val="1B26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29F9172-829C-4FEC-941D-F7A4D085A5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6D2641-81B4-4FA9-AABA-CD0BE301EB4F}" type="slidenum">
              <a:rPr lang="en-US" smtClean="0"/>
              <a:t>19</a:t>
            </a:fld>
            <a:endParaRPr lang="en-US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0D7D7EF6-2F59-4160-8723-0028DE366CDB}"/>
              </a:ext>
            </a:extLst>
          </p:cNvPr>
          <p:cNvCxnSpPr>
            <a:cxnSpLocks/>
          </p:cNvCxnSpPr>
          <p:nvPr/>
        </p:nvCxnSpPr>
        <p:spPr>
          <a:xfrm>
            <a:off x="688185" y="1082000"/>
            <a:ext cx="1101613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478E6291-A622-4A37-9A57-E32C81725269}"/>
              </a:ext>
            </a:extLst>
          </p:cNvPr>
          <p:cNvSpPr txBox="1"/>
          <p:nvPr/>
        </p:nvSpPr>
        <p:spPr>
          <a:xfrm>
            <a:off x="753536" y="3315152"/>
            <a:ext cx="232926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latin typeface="ITC Avant Garde Pro Bk" panose="020B0502020202020204" pitchFamily="34" charset="0"/>
              </a:rPr>
              <a:t>Sales analytics by product classes, groups, categories</a:t>
            </a:r>
          </a:p>
          <a:p>
            <a:endParaRPr lang="en-US" sz="1400" dirty="0">
              <a:latin typeface="ITC Avant Garde Pro Bk" panose="020B0502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latin typeface="ITC Avant Garde Pro Bk" panose="020B0502020202020204" pitchFamily="34" charset="0"/>
              </a:rPr>
              <a:t>Average basket composi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 dirty="0">
              <a:latin typeface="ITC Avant Garde Pro Bk" panose="020B0502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latin typeface="ITC Avant Garde Pro Bk" panose="020B0502020202020204" pitchFamily="34" charset="0"/>
              </a:rPr>
              <a:t>Sales analytics by days of week, by cit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B83A0E4-7F37-4199-9D13-ED5048E72F4A}"/>
              </a:ext>
            </a:extLst>
          </p:cNvPr>
          <p:cNvSpPr txBox="1"/>
          <p:nvPr/>
        </p:nvSpPr>
        <p:spPr>
          <a:xfrm>
            <a:off x="3701421" y="3315150"/>
            <a:ext cx="2329262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latin typeface="ITC Avant Garde Pro Bk" panose="020B0502020202020204" pitchFamily="34" charset="0"/>
              </a:rPr>
              <a:t>Product assortment analysis by classes groups, categori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 dirty="0">
              <a:latin typeface="ITC Avant Garde Pro Bk" panose="020B0502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latin typeface="ITC Avant Garde Pro Bk" panose="020B0502020202020204" pitchFamily="34" charset="0"/>
              </a:rPr>
              <a:t>Product group width estim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 dirty="0">
              <a:latin typeface="ITC Avant Garde Pro Bk" panose="020B0502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latin typeface="ITC Avant Garde Pro Bk" panose="020B0502020202020204" pitchFamily="34" charset="0"/>
              </a:rPr>
              <a:t>Product group decomposi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 dirty="0">
              <a:latin typeface="ITC Avant Garde Pro Bk" panose="020B0502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C72DDD0-E9EC-4488-A6C5-4A8889B5479C}"/>
              </a:ext>
            </a:extLst>
          </p:cNvPr>
          <p:cNvSpPr txBox="1"/>
          <p:nvPr/>
        </p:nvSpPr>
        <p:spPr>
          <a:xfrm>
            <a:off x="6714309" y="3323074"/>
            <a:ext cx="2063931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latin typeface="ITC Avant Garde Pro Bk" panose="020B0502020202020204" pitchFamily="34" charset="0"/>
              </a:rPr>
              <a:t>Categorization: Magnum vs. competito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 dirty="0">
              <a:latin typeface="ITC Avant Garde Pro Bk" panose="020B0502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latin typeface="ITC Avant Garde Pro Bk" panose="020B0502020202020204" pitchFamily="34" charset="0"/>
              </a:rPr>
              <a:t>Listing algorithm of competito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 dirty="0">
              <a:latin typeface="ITC Avant Garde Pro Bk" panose="020B0502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latin typeface="ITC Avant Garde Pro Bk" panose="020B0502020202020204" pitchFamily="34" charset="0"/>
              </a:rPr>
              <a:t>Developing new categorization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67E6523-1DD6-4B04-B59B-D5D9437766EA}"/>
              </a:ext>
            </a:extLst>
          </p:cNvPr>
          <p:cNvSpPr txBox="1"/>
          <p:nvPr/>
        </p:nvSpPr>
        <p:spPr>
          <a:xfrm>
            <a:off x="9394970" y="3315150"/>
            <a:ext cx="2158733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latin typeface="ITC Avant Garde Pro Bk" panose="020B0502020202020204" pitchFamily="34" charset="0"/>
              </a:rPr>
              <a:t>Analyzing survey resul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 dirty="0">
              <a:latin typeface="ITC Avant Garde Pro Bk" panose="020B0502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latin typeface="ITC Avant Garde Pro Bk" panose="020B0502020202020204" pitchFamily="34" charset="0"/>
              </a:rPr>
              <a:t>Analyzing testing resul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 dirty="0">
              <a:latin typeface="ITC Avant Garde Pro Bk" panose="020B0502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latin typeface="ITC Avant Garde Pro Bk" panose="020B0502020202020204" pitchFamily="34" charset="0"/>
              </a:rPr>
              <a:t>Statistical analysis of UI and UX desig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 dirty="0">
              <a:latin typeface="ITC Avant Garde Pro Bk" panose="020B0502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 dirty="0">
              <a:latin typeface="ITC Avant Garde Pro Bk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34733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  <p:bldP spid="10" grpId="0"/>
      <p:bldP spid="11" grpId="0"/>
      <p:bldP spid="12" grpId="0"/>
      <p:bldP spid="13" grpId="0"/>
      <p:bldP spid="14" grpId="0" animBg="1"/>
      <p:bldP spid="15" grpId="0" animBg="1"/>
      <p:bldP spid="16" grpId="0" animBg="1"/>
      <p:bldP spid="17" grpId="0" animBg="1"/>
      <p:bldP spid="18" grpId="0"/>
      <p:bldP spid="19" grpId="0"/>
      <p:bldP spid="20" grpId="0"/>
      <p:bldP spid="21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8188AD-9094-4C66-BE47-9C889B1594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8188AD-9094-4C66-BE47-9C889B1594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ECA8FAC-48D8-429E-8F45-083CE78396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6D2641-81B4-4FA9-AABA-CD0BE301EB4F}" type="slidenum">
              <a:rPr lang="en-US" smtClean="0"/>
              <a:t>2</a:t>
            </a:fld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A3451F0-B255-460F-BBB5-23AE51AFEFCA}"/>
              </a:ext>
            </a:extLst>
          </p:cNvPr>
          <p:cNvSpPr/>
          <p:nvPr/>
        </p:nvSpPr>
        <p:spPr>
          <a:xfrm>
            <a:off x="5264331" y="604914"/>
            <a:ext cx="6927669" cy="12660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235725E-0C0E-4A77-A774-156E169723C6}"/>
              </a:ext>
            </a:extLst>
          </p:cNvPr>
          <p:cNvSpPr txBox="1"/>
          <p:nvPr/>
        </p:nvSpPr>
        <p:spPr>
          <a:xfrm>
            <a:off x="6309360" y="303793"/>
            <a:ext cx="4101966" cy="7078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4000" dirty="0">
                <a:latin typeface="ITC Avant Garde Pro Md" panose="020B0602020202020204" pitchFamily="34" charset="0"/>
              </a:rPr>
              <a:t>Capstone team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5B6580E-0152-442A-B07D-48D3F218F3E9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846" b="27608"/>
          <a:stretch/>
        </p:blipFill>
        <p:spPr>
          <a:xfrm>
            <a:off x="0" y="1841863"/>
            <a:ext cx="12192000" cy="3122023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E8B98E4E-71CB-4C64-B508-063199A534E1}"/>
              </a:ext>
            </a:extLst>
          </p:cNvPr>
          <p:cNvSpPr txBox="1"/>
          <p:nvPr/>
        </p:nvSpPr>
        <p:spPr>
          <a:xfrm>
            <a:off x="1173724" y="4963886"/>
            <a:ext cx="292801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latin typeface="ITC Avant Garde Pro Md" panose="020B0602020202020204" pitchFamily="34" charset="0"/>
              </a:rPr>
              <a:t>Zhantileu Segizbayev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2876BBB-2BA9-440D-9BAA-C1874F7CC69B}"/>
              </a:ext>
            </a:extLst>
          </p:cNvPr>
          <p:cNvSpPr txBox="1"/>
          <p:nvPr/>
        </p:nvSpPr>
        <p:spPr>
          <a:xfrm>
            <a:off x="4845353" y="4963886"/>
            <a:ext cx="292801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err="1">
                <a:latin typeface="ITC Avant Garde Pro Md" panose="020B0602020202020204" pitchFamily="34" charset="0"/>
              </a:rPr>
              <a:t>Madina</a:t>
            </a:r>
            <a:r>
              <a:rPr lang="en-US" sz="2000" dirty="0">
                <a:latin typeface="ITC Avant Garde Pro Md" panose="020B0602020202020204" pitchFamily="34" charset="0"/>
              </a:rPr>
              <a:t> </a:t>
            </a:r>
            <a:r>
              <a:rPr lang="en-US" sz="2000" dirty="0" err="1">
                <a:latin typeface="ITC Avant Garde Pro Md" panose="020B0602020202020204" pitchFamily="34" charset="0"/>
              </a:rPr>
              <a:t>Baizhanova</a:t>
            </a:r>
            <a:endParaRPr lang="en-US" sz="2000" dirty="0">
              <a:latin typeface="ITC Avant Garde Pro Md" panose="020B0602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E3EC4ED-5153-431A-85A6-CE1A2F9AB77C}"/>
              </a:ext>
            </a:extLst>
          </p:cNvPr>
          <p:cNvSpPr txBox="1"/>
          <p:nvPr/>
        </p:nvSpPr>
        <p:spPr>
          <a:xfrm>
            <a:off x="8516982" y="4963886"/>
            <a:ext cx="292801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latin typeface="ITC Avant Garde Pro Md" panose="020B0602020202020204" pitchFamily="34" charset="0"/>
              </a:rPr>
              <a:t>Saida </a:t>
            </a:r>
            <a:r>
              <a:rPr lang="en-US" sz="2000" dirty="0" err="1">
                <a:latin typeface="ITC Avant Garde Pro Md" panose="020B0602020202020204" pitchFamily="34" charset="0"/>
              </a:rPr>
              <a:t>Zhunussova</a:t>
            </a:r>
            <a:endParaRPr lang="en-US" sz="2000" dirty="0">
              <a:latin typeface="ITC Avant Garde Pro Md" panose="020B06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442705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735617-5583-4547-B0A8-51B07546017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735617-5583-4547-B0A8-51B0754601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5C87A0DE-FE28-494E-ADB6-50E9F9816527}"/>
              </a:ext>
            </a:extLst>
          </p:cNvPr>
          <p:cNvSpPr txBox="1"/>
          <p:nvPr/>
        </p:nvSpPr>
        <p:spPr>
          <a:xfrm>
            <a:off x="688185" y="556502"/>
            <a:ext cx="11799906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1B262A"/>
                </a:solidFill>
                <a:latin typeface="ITC Avant Garde Pro Md" panose="020B0602020202020204" pitchFamily="34" charset="0"/>
              </a:rPr>
              <a:t>Data Visualization and interactive dashboard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53E0375-FC28-45BC-A69B-1304D0A08E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6D2641-81B4-4FA9-AABA-CD0BE301EB4F}" type="slidenum">
              <a:rPr lang="en-US" smtClean="0"/>
              <a:t>20</a:t>
            </a:fld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2C8C74F-1B2F-4BEE-A3EE-EDEA72B77021}"/>
              </a:ext>
            </a:extLst>
          </p:cNvPr>
          <p:cNvCxnSpPr>
            <a:cxnSpLocks/>
          </p:cNvCxnSpPr>
          <p:nvPr/>
        </p:nvCxnSpPr>
        <p:spPr>
          <a:xfrm>
            <a:off x="688185" y="1082000"/>
            <a:ext cx="1101613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C7AB9764-97A2-4C99-B244-6B1B030F0988}"/>
              </a:ext>
            </a:extLst>
          </p:cNvPr>
          <p:cNvSpPr/>
          <p:nvPr/>
        </p:nvSpPr>
        <p:spPr>
          <a:xfrm>
            <a:off x="688185" y="1957732"/>
            <a:ext cx="3374364" cy="1388236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rgbClr val="1B26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1B262A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229A7AE-026C-434F-9A15-F4596739EA6C}"/>
              </a:ext>
            </a:extLst>
          </p:cNvPr>
          <p:cNvSpPr/>
          <p:nvPr/>
        </p:nvSpPr>
        <p:spPr>
          <a:xfrm>
            <a:off x="4495935" y="1957732"/>
            <a:ext cx="3374364" cy="1388236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rgbClr val="1B26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1B262A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58C1FC5-1E44-46CF-9AD2-FCBA5FF5CAED}"/>
              </a:ext>
            </a:extLst>
          </p:cNvPr>
          <p:cNvSpPr/>
          <p:nvPr/>
        </p:nvSpPr>
        <p:spPr>
          <a:xfrm>
            <a:off x="8329956" y="1974247"/>
            <a:ext cx="3374364" cy="1388236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rgbClr val="1B26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1B262A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E91278B-D0EF-4680-A842-6C7542660726}"/>
              </a:ext>
            </a:extLst>
          </p:cNvPr>
          <p:cNvSpPr txBox="1"/>
          <p:nvPr/>
        </p:nvSpPr>
        <p:spPr>
          <a:xfrm>
            <a:off x="799826" y="2479385"/>
            <a:ext cx="315623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ITC Avant Garde Pro Md" panose="020B0602020202020204" pitchFamily="34" charset="0"/>
              </a:rPr>
              <a:t>Data Visualization tool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D3FB2C8-8A55-41AA-BA7C-2B40944C0FE7}"/>
              </a:ext>
            </a:extLst>
          </p:cNvPr>
          <p:cNvSpPr txBox="1"/>
          <p:nvPr/>
        </p:nvSpPr>
        <p:spPr>
          <a:xfrm>
            <a:off x="4511647" y="2499088"/>
            <a:ext cx="33586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ITC Avant Garde Pro Md" panose="020B0602020202020204" pitchFamily="34" charset="0"/>
              </a:rPr>
              <a:t>Interactive Dashboards too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9EFA9C3-508E-4F84-B38F-7C505F3B546C}"/>
              </a:ext>
            </a:extLst>
          </p:cNvPr>
          <p:cNvSpPr txBox="1"/>
          <p:nvPr/>
        </p:nvSpPr>
        <p:spPr>
          <a:xfrm>
            <a:off x="8607515" y="2479385"/>
            <a:ext cx="293810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ITC Avant Garde Pro Md" panose="020B0602020202020204" pitchFamily="34" charset="0"/>
              </a:rPr>
              <a:t>Types of used chart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42491F4-AC49-4743-9EF8-E85EBB5FF73F}"/>
              </a:ext>
            </a:extLst>
          </p:cNvPr>
          <p:cNvSpPr/>
          <p:nvPr/>
        </p:nvSpPr>
        <p:spPr>
          <a:xfrm>
            <a:off x="682328" y="3524393"/>
            <a:ext cx="3374364" cy="2432269"/>
          </a:xfrm>
          <a:prstGeom prst="rect">
            <a:avLst/>
          </a:prstGeom>
          <a:noFill/>
          <a:ln>
            <a:solidFill>
              <a:srgbClr val="1B26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103403E-484F-4EB4-BB46-22C004FE181D}"/>
              </a:ext>
            </a:extLst>
          </p:cNvPr>
          <p:cNvSpPr/>
          <p:nvPr/>
        </p:nvSpPr>
        <p:spPr>
          <a:xfrm>
            <a:off x="4495935" y="3524393"/>
            <a:ext cx="3374364" cy="2432269"/>
          </a:xfrm>
          <a:prstGeom prst="rect">
            <a:avLst/>
          </a:prstGeom>
          <a:noFill/>
          <a:ln>
            <a:solidFill>
              <a:srgbClr val="1B26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CBAE5F8-7FCA-4C8F-8DAF-A4B1CF64C349}"/>
              </a:ext>
            </a:extLst>
          </p:cNvPr>
          <p:cNvSpPr/>
          <p:nvPr/>
        </p:nvSpPr>
        <p:spPr>
          <a:xfrm>
            <a:off x="8329956" y="3524393"/>
            <a:ext cx="3374364" cy="2432269"/>
          </a:xfrm>
          <a:prstGeom prst="rect">
            <a:avLst/>
          </a:prstGeom>
          <a:noFill/>
          <a:ln>
            <a:solidFill>
              <a:srgbClr val="1B26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6" name="Picture 2" descr="Tableau Logo for website - Sybyl">
            <a:extLst>
              <a:ext uri="{FF2B5EF4-FFF2-40B4-BE49-F238E27FC236}">
                <a16:creationId xmlns:a16="http://schemas.microsoft.com/office/drawing/2014/main" id="{C1D93064-A91B-4829-BB30-600634B898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7505" y="3703619"/>
            <a:ext cx="2072381" cy="2072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Think-cell | Consulting Club">
            <a:extLst>
              <a:ext uri="{FF2B5EF4-FFF2-40B4-BE49-F238E27FC236}">
                <a16:creationId xmlns:a16="http://schemas.microsoft.com/office/drawing/2014/main" id="{D5ECAB13-4D17-425F-AFF6-85100B5386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0133" y="4972319"/>
            <a:ext cx="2269089" cy="838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Refreshing Your Excel Knowledge - Conejo Computers">
            <a:extLst>
              <a:ext uri="{FF2B5EF4-FFF2-40B4-BE49-F238E27FC236}">
                <a16:creationId xmlns:a16="http://schemas.microsoft.com/office/drawing/2014/main" id="{EC0176A9-B538-4B99-9934-8A6DBA8C47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4636" y="3703619"/>
            <a:ext cx="2060084" cy="1160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F3AC9FEB-2DA6-42D2-BE5D-C81BD8CAE5F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360161" y="3949810"/>
            <a:ext cx="1432813" cy="1432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36503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250"/>
                                        <p:tgtEl>
                                          <p:spTgt spid="10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5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25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/>
      <p:bldP spid="12" grpId="0"/>
      <p:bldP spid="13" grpId="0"/>
      <p:bldP spid="14" grpId="0" animBg="1"/>
      <p:bldP spid="15" grpId="0" animBg="1"/>
      <p:bldP spid="16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8188AD-9094-4C66-BE47-9C889B1594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8188AD-9094-4C66-BE47-9C889B1594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66584611-B9BD-493F-90BA-81739C2DC2FB}"/>
              </a:ext>
            </a:extLst>
          </p:cNvPr>
          <p:cNvSpPr/>
          <p:nvPr/>
        </p:nvSpPr>
        <p:spPr>
          <a:xfrm>
            <a:off x="10485296" y="0"/>
            <a:ext cx="1706704" cy="6858000"/>
          </a:xfrm>
          <a:prstGeom prst="rect">
            <a:avLst/>
          </a:prstGeom>
          <a:solidFill>
            <a:srgbClr val="1B26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885B069-12B1-4D5E-A241-F108F36069DA}"/>
              </a:ext>
            </a:extLst>
          </p:cNvPr>
          <p:cNvSpPr txBox="1"/>
          <p:nvPr/>
        </p:nvSpPr>
        <p:spPr>
          <a:xfrm>
            <a:off x="601013" y="5176290"/>
            <a:ext cx="9679456" cy="10156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6000" dirty="0">
                <a:solidFill>
                  <a:srgbClr val="1B262A"/>
                </a:solidFill>
                <a:latin typeface="ITC Avant Garde Pro Md" panose="020B0602020202020204" pitchFamily="34" charset="0"/>
              </a:rPr>
              <a:t>Results and Discussi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4B60A28-A434-42BB-A331-28E026EE266B}"/>
              </a:ext>
            </a:extLst>
          </p:cNvPr>
          <p:cNvSpPr txBox="1"/>
          <p:nvPr/>
        </p:nvSpPr>
        <p:spPr>
          <a:xfrm>
            <a:off x="461549" y="2870199"/>
            <a:ext cx="2464531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0" dirty="0">
                <a:solidFill>
                  <a:srgbClr val="1B262A"/>
                </a:solidFill>
                <a:latin typeface="Bahnschrift SemiLight Condensed" panose="020B0502040204020203" pitchFamily="34" charset="0"/>
              </a:rPr>
              <a:t>04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172E114-AE14-4AB9-95DD-5CBBE3E211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6D2641-81B4-4FA9-AABA-CD0BE301EB4F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244592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9FBDCD-8AFA-4187-9760-F291DAA622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9FBDCD-8AFA-4187-9760-F291DAA622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D8FAFC92-18B7-49DE-AAC3-D2B7F9C3702B}"/>
              </a:ext>
            </a:extLst>
          </p:cNvPr>
          <p:cNvSpPr txBox="1"/>
          <p:nvPr/>
        </p:nvSpPr>
        <p:spPr>
          <a:xfrm>
            <a:off x="688185" y="556502"/>
            <a:ext cx="7410786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1B262A"/>
                </a:solidFill>
                <a:latin typeface="ITC Avant Garde Pro Md" panose="020B0602020202020204" pitchFamily="34" charset="0"/>
              </a:rPr>
              <a:t>Results framework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1AA9B49-BA61-4EF2-9425-856B67E46035}"/>
              </a:ext>
            </a:extLst>
          </p:cNvPr>
          <p:cNvSpPr/>
          <p:nvPr/>
        </p:nvSpPr>
        <p:spPr>
          <a:xfrm>
            <a:off x="809896" y="1770017"/>
            <a:ext cx="10528663" cy="822960"/>
          </a:xfrm>
          <a:prstGeom prst="rect">
            <a:avLst/>
          </a:prstGeom>
          <a:solidFill>
            <a:srgbClr val="1B26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  <a:latin typeface="ITC Avant Garde Pro Md" panose="020B0602020202020204" pitchFamily="34" charset="0"/>
              </a:rPr>
              <a:t>Assortment improvement of Magnum retail chain </a:t>
            </a:r>
          </a:p>
          <a:p>
            <a:pPr algn="ctr"/>
            <a:r>
              <a:rPr lang="en-US" dirty="0">
                <a:solidFill>
                  <a:schemeClr val="bg1"/>
                </a:solidFill>
                <a:latin typeface="ITC Avant Garde Pro Md" panose="020B0602020202020204" pitchFamily="34" charset="0"/>
              </a:rPr>
              <a:t>through e-commerce channels: A Data Analytics approach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C3892E7-8492-4E13-A471-0922F3CFFB37}"/>
              </a:ext>
            </a:extLst>
          </p:cNvPr>
          <p:cNvSpPr/>
          <p:nvPr/>
        </p:nvSpPr>
        <p:spPr>
          <a:xfrm>
            <a:off x="809896" y="2808514"/>
            <a:ext cx="2037807" cy="2599509"/>
          </a:xfrm>
          <a:prstGeom prst="rect">
            <a:avLst/>
          </a:prstGeom>
          <a:noFill/>
          <a:ln>
            <a:solidFill>
              <a:srgbClr val="1B26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6F3619-DD23-4B32-A2D4-C574C792E430}"/>
              </a:ext>
            </a:extLst>
          </p:cNvPr>
          <p:cNvSpPr/>
          <p:nvPr/>
        </p:nvSpPr>
        <p:spPr>
          <a:xfrm>
            <a:off x="2926078" y="2808514"/>
            <a:ext cx="2037807" cy="2599509"/>
          </a:xfrm>
          <a:prstGeom prst="rect">
            <a:avLst/>
          </a:prstGeom>
          <a:noFill/>
          <a:ln>
            <a:solidFill>
              <a:srgbClr val="1B26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0F15420-6343-4089-BC3B-1965FFFEE3E9}"/>
              </a:ext>
            </a:extLst>
          </p:cNvPr>
          <p:cNvSpPr/>
          <p:nvPr/>
        </p:nvSpPr>
        <p:spPr>
          <a:xfrm>
            <a:off x="5050970" y="2808514"/>
            <a:ext cx="2037807" cy="2599509"/>
          </a:xfrm>
          <a:prstGeom prst="rect">
            <a:avLst/>
          </a:prstGeom>
          <a:noFill/>
          <a:ln>
            <a:solidFill>
              <a:srgbClr val="1B26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558B1BE-30D9-4EBE-B82D-7E333A6202A8}"/>
              </a:ext>
            </a:extLst>
          </p:cNvPr>
          <p:cNvSpPr/>
          <p:nvPr/>
        </p:nvSpPr>
        <p:spPr>
          <a:xfrm>
            <a:off x="7188926" y="2808514"/>
            <a:ext cx="2037807" cy="2599509"/>
          </a:xfrm>
          <a:prstGeom prst="rect">
            <a:avLst/>
          </a:prstGeom>
          <a:noFill/>
          <a:ln>
            <a:solidFill>
              <a:srgbClr val="1B26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0772D22-7F36-412E-9CCC-5299D5D92B15}"/>
              </a:ext>
            </a:extLst>
          </p:cNvPr>
          <p:cNvSpPr/>
          <p:nvPr/>
        </p:nvSpPr>
        <p:spPr>
          <a:xfrm>
            <a:off x="9318171" y="2808514"/>
            <a:ext cx="2037807" cy="2599509"/>
          </a:xfrm>
          <a:prstGeom prst="rect">
            <a:avLst/>
          </a:prstGeom>
          <a:noFill/>
          <a:ln>
            <a:solidFill>
              <a:srgbClr val="1B26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1BB43B2-8756-4C3E-93B0-253FACE8C63F}"/>
              </a:ext>
            </a:extLst>
          </p:cNvPr>
          <p:cNvSpPr txBox="1"/>
          <p:nvPr/>
        </p:nvSpPr>
        <p:spPr>
          <a:xfrm>
            <a:off x="788122" y="3919931"/>
            <a:ext cx="20378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ITC Avant Garde Pro Bk" panose="020B0502020202020204" pitchFamily="34" charset="0"/>
              </a:rPr>
              <a:t>Offline vs. Onlin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7E841BD-27E2-4F23-AF4D-7B79FC0283FE}"/>
              </a:ext>
            </a:extLst>
          </p:cNvPr>
          <p:cNvSpPr txBox="1"/>
          <p:nvPr/>
        </p:nvSpPr>
        <p:spPr>
          <a:xfrm>
            <a:off x="2913014" y="3815879"/>
            <a:ext cx="20378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ITC Avant Garde Pro Bk" panose="020B0502020202020204" pitchFamily="34" charset="0"/>
              </a:rPr>
              <a:t>Competitor analysi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1D84FAA-E1C0-4F12-91F1-DFCDB184408B}"/>
              </a:ext>
            </a:extLst>
          </p:cNvPr>
          <p:cNvSpPr txBox="1"/>
          <p:nvPr/>
        </p:nvSpPr>
        <p:spPr>
          <a:xfrm>
            <a:off x="5107575" y="3796820"/>
            <a:ext cx="192459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ITC Avant Garde Pro Bk" panose="020B0502020202020204" pitchFamily="34" charset="0"/>
              </a:rPr>
              <a:t>Categorization and listin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38ED2F7-20DD-4016-996E-84C4D6B1970D}"/>
              </a:ext>
            </a:extLst>
          </p:cNvPr>
          <p:cNvSpPr txBox="1"/>
          <p:nvPr/>
        </p:nvSpPr>
        <p:spPr>
          <a:xfrm>
            <a:off x="7201990" y="3841993"/>
            <a:ext cx="20378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ITC Avant Garde Pro Bk" panose="020B0502020202020204" pitchFamily="34" charset="0"/>
              </a:rPr>
              <a:t>Mobile app ergonomic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F04B605-EB32-44D4-B833-99ECAA80A1E5}"/>
              </a:ext>
            </a:extLst>
          </p:cNvPr>
          <p:cNvSpPr txBox="1"/>
          <p:nvPr/>
        </p:nvSpPr>
        <p:spPr>
          <a:xfrm>
            <a:off x="9326882" y="3815874"/>
            <a:ext cx="20378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ITC Avant Garde Pro Bk" panose="020B0502020202020204" pitchFamily="34" charset="0"/>
              </a:rPr>
              <a:t>Interactive Dashboard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3C7766D-E193-4077-80FA-33056F2BB974}"/>
              </a:ext>
            </a:extLst>
          </p:cNvPr>
          <p:cNvCxnSpPr>
            <a:cxnSpLocks/>
          </p:cNvCxnSpPr>
          <p:nvPr/>
        </p:nvCxnSpPr>
        <p:spPr>
          <a:xfrm>
            <a:off x="688185" y="1082000"/>
            <a:ext cx="1101613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99450D8-F8D9-4817-9D28-EA7B27CB58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6D2641-81B4-4FA9-AABA-CD0BE301EB4F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25794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/>
      <p:bldP spid="12" grpId="0"/>
      <p:bldP spid="13" grpId="0"/>
      <p:bldP spid="14" grpId="0"/>
      <p:bldP spid="15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9FBDCD-8AFA-4187-9760-F291DAA622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9FBDCD-8AFA-4187-9760-F291DAA622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D8FAFC92-18B7-49DE-AAC3-D2B7F9C3702B}"/>
              </a:ext>
            </a:extLst>
          </p:cNvPr>
          <p:cNvSpPr txBox="1"/>
          <p:nvPr/>
        </p:nvSpPr>
        <p:spPr>
          <a:xfrm>
            <a:off x="688185" y="556502"/>
            <a:ext cx="7410786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1B262A"/>
                </a:solidFill>
                <a:latin typeface="ITC Avant Garde Pro Md" panose="020B0602020202020204" pitchFamily="34" charset="0"/>
              </a:rPr>
              <a:t>Results framework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1AA9B49-BA61-4EF2-9425-856B67E46035}"/>
              </a:ext>
            </a:extLst>
          </p:cNvPr>
          <p:cNvSpPr/>
          <p:nvPr/>
        </p:nvSpPr>
        <p:spPr>
          <a:xfrm>
            <a:off x="809896" y="1770017"/>
            <a:ext cx="10528663" cy="822960"/>
          </a:xfrm>
          <a:prstGeom prst="rect">
            <a:avLst/>
          </a:prstGeom>
          <a:solidFill>
            <a:srgbClr val="1B26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  <a:latin typeface="ITC Avant Garde Pro Md" panose="020B0602020202020204" pitchFamily="34" charset="0"/>
              </a:rPr>
              <a:t>Assortment improvement of Magnum retail chain </a:t>
            </a:r>
          </a:p>
          <a:p>
            <a:pPr algn="ctr"/>
            <a:r>
              <a:rPr lang="en-US" dirty="0">
                <a:solidFill>
                  <a:schemeClr val="bg1"/>
                </a:solidFill>
                <a:latin typeface="ITC Avant Garde Pro Md" panose="020B0602020202020204" pitchFamily="34" charset="0"/>
              </a:rPr>
              <a:t>through e-commerce channels: A Data Analytics approach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C3892E7-8492-4E13-A471-0922F3CFFB37}"/>
              </a:ext>
            </a:extLst>
          </p:cNvPr>
          <p:cNvSpPr/>
          <p:nvPr/>
        </p:nvSpPr>
        <p:spPr>
          <a:xfrm>
            <a:off x="809896" y="2808514"/>
            <a:ext cx="2037807" cy="2599509"/>
          </a:xfrm>
          <a:prstGeom prst="rect">
            <a:avLst/>
          </a:prstGeom>
          <a:solidFill>
            <a:srgbClr val="1B262A"/>
          </a:solidFill>
          <a:ln>
            <a:solidFill>
              <a:srgbClr val="1B26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6F3619-DD23-4B32-A2D4-C574C792E430}"/>
              </a:ext>
            </a:extLst>
          </p:cNvPr>
          <p:cNvSpPr/>
          <p:nvPr/>
        </p:nvSpPr>
        <p:spPr>
          <a:xfrm>
            <a:off x="2926078" y="2808514"/>
            <a:ext cx="2037807" cy="2599509"/>
          </a:xfrm>
          <a:prstGeom prst="rect">
            <a:avLst/>
          </a:prstGeom>
          <a:noFill/>
          <a:ln>
            <a:solidFill>
              <a:srgbClr val="1B26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0F15420-6343-4089-BC3B-1965FFFEE3E9}"/>
              </a:ext>
            </a:extLst>
          </p:cNvPr>
          <p:cNvSpPr/>
          <p:nvPr/>
        </p:nvSpPr>
        <p:spPr>
          <a:xfrm>
            <a:off x="5050970" y="2808514"/>
            <a:ext cx="2037807" cy="2599509"/>
          </a:xfrm>
          <a:prstGeom prst="rect">
            <a:avLst/>
          </a:prstGeom>
          <a:noFill/>
          <a:ln>
            <a:solidFill>
              <a:srgbClr val="1B26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558B1BE-30D9-4EBE-B82D-7E333A6202A8}"/>
              </a:ext>
            </a:extLst>
          </p:cNvPr>
          <p:cNvSpPr/>
          <p:nvPr/>
        </p:nvSpPr>
        <p:spPr>
          <a:xfrm>
            <a:off x="7188926" y="2808514"/>
            <a:ext cx="2037807" cy="2599509"/>
          </a:xfrm>
          <a:prstGeom prst="rect">
            <a:avLst/>
          </a:prstGeom>
          <a:noFill/>
          <a:ln>
            <a:solidFill>
              <a:srgbClr val="1B26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0772D22-7F36-412E-9CCC-5299D5D92B15}"/>
              </a:ext>
            </a:extLst>
          </p:cNvPr>
          <p:cNvSpPr/>
          <p:nvPr/>
        </p:nvSpPr>
        <p:spPr>
          <a:xfrm>
            <a:off x="9318171" y="2808514"/>
            <a:ext cx="2037807" cy="2599509"/>
          </a:xfrm>
          <a:prstGeom prst="rect">
            <a:avLst/>
          </a:prstGeom>
          <a:noFill/>
          <a:ln>
            <a:solidFill>
              <a:srgbClr val="1B26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1BB43B2-8756-4C3E-93B0-253FACE8C63F}"/>
              </a:ext>
            </a:extLst>
          </p:cNvPr>
          <p:cNvSpPr txBox="1"/>
          <p:nvPr/>
        </p:nvSpPr>
        <p:spPr>
          <a:xfrm>
            <a:off x="788122" y="3919931"/>
            <a:ext cx="20378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ITC Avant Garde Pro Bk" panose="020B0502020202020204" pitchFamily="34" charset="0"/>
              </a:rPr>
              <a:t>Offline vs. Onlin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7E841BD-27E2-4F23-AF4D-7B79FC0283FE}"/>
              </a:ext>
            </a:extLst>
          </p:cNvPr>
          <p:cNvSpPr txBox="1"/>
          <p:nvPr/>
        </p:nvSpPr>
        <p:spPr>
          <a:xfrm>
            <a:off x="2913014" y="3815879"/>
            <a:ext cx="20378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ITC Avant Garde Pro Bk" panose="020B0502020202020204" pitchFamily="34" charset="0"/>
              </a:rPr>
              <a:t>Competitor analysi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1D84FAA-E1C0-4F12-91F1-DFCDB184408B}"/>
              </a:ext>
            </a:extLst>
          </p:cNvPr>
          <p:cNvSpPr txBox="1"/>
          <p:nvPr/>
        </p:nvSpPr>
        <p:spPr>
          <a:xfrm>
            <a:off x="5107575" y="3796820"/>
            <a:ext cx="192459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ITC Avant Garde Pro Bk" panose="020B0502020202020204" pitchFamily="34" charset="0"/>
              </a:rPr>
              <a:t>Categorization and listin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38ED2F7-20DD-4016-996E-84C4D6B1970D}"/>
              </a:ext>
            </a:extLst>
          </p:cNvPr>
          <p:cNvSpPr txBox="1"/>
          <p:nvPr/>
        </p:nvSpPr>
        <p:spPr>
          <a:xfrm>
            <a:off x="7201990" y="3841993"/>
            <a:ext cx="20378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ITC Avant Garde Pro Bk" panose="020B0502020202020204" pitchFamily="34" charset="0"/>
              </a:rPr>
              <a:t>Mobile app ergonomic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F04B605-EB32-44D4-B833-99ECAA80A1E5}"/>
              </a:ext>
            </a:extLst>
          </p:cNvPr>
          <p:cNvSpPr txBox="1"/>
          <p:nvPr/>
        </p:nvSpPr>
        <p:spPr>
          <a:xfrm>
            <a:off x="9326882" y="3815874"/>
            <a:ext cx="20378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ITC Avant Garde Pro Bk" panose="020B0502020202020204" pitchFamily="34" charset="0"/>
              </a:rPr>
              <a:t>Interactive Dashboard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3C7766D-E193-4077-80FA-33056F2BB974}"/>
              </a:ext>
            </a:extLst>
          </p:cNvPr>
          <p:cNvCxnSpPr>
            <a:cxnSpLocks/>
          </p:cNvCxnSpPr>
          <p:nvPr/>
        </p:nvCxnSpPr>
        <p:spPr>
          <a:xfrm>
            <a:off x="688185" y="1082000"/>
            <a:ext cx="1101613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370528-5DDA-4791-8EF2-3852697CEB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6D2641-81B4-4FA9-AABA-CD0BE301EB4F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948629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8698A8C-C100-41A6-B11A-6C9C73367D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1966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78" imgH="377" progId="TCLayout.ActiveDocument.1">
                  <p:embed/>
                </p:oleObj>
              </mc:Choice>
              <mc:Fallback>
                <p:oleObj name="think-cell Slide" r:id="rId14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E918DE6C-3526-4AEE-9CE1-84327043A4B7}"/>
              </a:ext>
            </a:extLst>
          </p:cNvPr>
          <p:cNvSpPr txBox="1"/>
          <p:nvPr/>
        </p:nvSpPr>
        <p:spPr>
          <a:xfrm>
            <a:off x="688185" y="556502"/>
            <a:ext cx="7410786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ITC Avant Garde Pro Md" panose="020B0602020202020204" pitchFamily="34" charset="0"/>
              </a:rPr>
              <a:t>Offline vs. Online sales by product class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74EC81D-62D4-40C6-B8C5-779E455D66BF}"/>
              </a:ext>
            </a:extLst>
          </p:cNvPr>
          <p:cNvCxnSpPr>
            <a:cxnSpLocks/>
          </p:cNvCxnSpPr>
          <p:nvPr/>
        </p:nvCxnSpPr>
        <p:spPr>
          <a:xfrm>
            <a:off x="688185" y="1082000"/>
            <a:ext cx="1101613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685B14E3-799E-429C-AEC1-FBC02230713D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0310633"/>
              </p:ext>
            </p:extLst>
          </p:nvPr>
        </p:nvGraphicFramePr>
        <p:xfrm>
          <a:off x="2352675" y="1657350"/>
          <a:ext cx="1982788" cy="15478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202" name="Text Placeholder 2">
            <a:extLst>
              <a:ext uri="{FF2B5EF4-FFF2-40B4-BE49-F238E27FC236}">
                <a16:creationId xmlns:a16="http://schemas.microsoft.com/office/drawing/2014/main" id="{08B3BB16-F185-424D-9038-724B28DA07AC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2873375" y="1925638"/>
            <a:ext cx="184150" cy="123825"/>
          </a:xfrm>
          <a:prstGeom prst="rect">
            <a:avLst/>
          </a:prstGeom>
          <a:solidFill>
            <a:srgbClr val="969696"/>
          </a:solidFill>
          <a:ln>
            <a:noFill/>
          </a:ln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A877E14-3B15-4DEA-8794-B8BB64EF6DA8}" type="datetime'''''''''''''5''''''''''%'''''''''''''''''''''">
              <a:rPr lang="en-US" altLang="en-US" sz="900" smtClean="0">
                <a:solidFill>
                  <a:srgbClr val="FFFFFF"/>
                </a:solidFill>
                <a:effectLst/>
                <a:latin typeface="ITC Avant Garde Pro Bk" panose="020B0502020202020204" pitchFamily="34" charset="0"/>
                <a:sym typeface="ITC Avant Garde Pro Bk" panose="020B0502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%</a:t>
            </a:fld>
            <a:endParaRPr lang="en-US" sz="900" dirty="0">
              <a:solidFill>
                <a:srgbClr val="FFFFFF"/>
              </a:solidFill>
              <a:latin typeface="ITC Avant Garde Pro Bk" panose="020B0502020202020204" pitchFamily="34" charset="0"/>
              <a:sym typeface="ITC Avant Garde Pro Bk" panose="020B0502020202020204" pitchFamily="34" charset="0"/>
            </a:endParaRPr>
          </a:p>
        </p:txBody>
      </p:sp>
      <p:graphicFrame>
        <p:nvGraphicFramePr>
          <p:cNvPr id="31" name="Chart 30">
            <a:extLst>
              <a:ext uri="{FF2B5EF4-FFF2-40B4-BE49-F238E27FC236}">
                <a16:creationId xmlns:a16="http://schemas.microsoft.com/office/drawing/2014/main" id="{66B4085B-AD6A-4359-9E43-D5DADEEF46CC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751095536"/>
              </p:ext>
            </p:extLst>
          </p:nvPr>
        </p:nvGraphicFramePr>
        <p:xfrm>
          <a:off x="7875588" y="1657350"/>
          <a:ext cx="2093912" cy="15478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253" name="Text Placeholder 2">
            <a:extLst>
              <a:ext uri="{FF2B5EF4-FFF2-40B4-BE49-F238E27FC236}">
                <a16:creationId xmlns:a16="http://schemas.microsoft.com/office/drawing/2014/main" id="{08B3BB16-F185-424D-9038-724B28DA07AC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8648700" y="1800225"/>
            <a:ext cx="203200" cy="136525"/>
          </a:xfrm>
          <a:prstGeom prst="rect">
            <a:avLst/>
          </a:prstGeom>
          <a:solidFill>
            <a:srgbClr val="969696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EF99ED-060B-4165-87E1-C8DA4F57F729}" type="datetime'''''''''''2''''%'''''''''''''''''''">
              <a:rPr lang="en-US" altLang="en-US" sz="1000" smtClean="0">
                <a:effectLst/>
                <a:latin typeface="ITC Avant Garde Pro Bk" panose="020B0502020202020204" pitchFamily="34" charset="0"/>
                <a:ea typeface="Verdana" panose="020B0604030504040204" pitchFamily="34" charset="0"/>
                <a:sym typeface="ITC Avant Garde Pro Bk" panose="020B0502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endParaRPr lang="en-US" sz="1000" dirty="0">
              <a:latin typeface="ITC Avant Garde Pro Bk" panose="020B0502020202020204" pitchFamily="34" charset="0"/>
              <a:ea typeface="Verdana" panose="020B0604030504040204" pitchFamily="34" charset="0"/>
              <a:sym typeface="ITC Avant Garde Pro Bk" panose="020B0502020202020204" pitchFamily="34" charset="0"/>
            </a:endParaRPr>
          </a:p>
        </p:txBody>
      </p:sp>
      <p:sp>
        <p:nvSpPr>
          <p:cNvPr id="254" name="Text Placeholder 2">
            <a:extLst>
              <a:ext uri="{FF2B5EF4-FFF2-40B4-BE49-F238E27FC236}">
                <a16:creationId xmlns:a16="http://schemas.microsoft.com/office/drawing/2014/main" id="{08B3BB16-F185-424D-9038-724B28DA07AC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8767763" y="1936750"/>
            <a:ext cx="203200" cy="136525"/>
          </a:xfrm>
          <a:prstGeom prst="rect">
            <a:avLst/>
          </a:prstGeom>
          <a:solidFill>
            <a:srgbClr val="C0C0C0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64459EC-BF18-46F5-BFD9-D80D3AA25E8C}" type="datetime'''''''4''''''''''''%'''''''''''''''''''''''''''''''''''">
              <a:rPr lang="en-US" altLang="en-US" sz="1000" smtClean="0">
                <a:effectLst/>
                <a:latin typeface="ITC Avant Garde Pro Bk" panose="020B0502020202020204" pitchFamily="34" charset="0"/>
                <a:ea typeface="Verdana" panose="020B0604030504040204" pitchFamily="34" charset="0"/>
                <a:sym typeface="ITC Avant Garde Pro Bk" panose="020B0502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%</a:t>
            </a:fld>
            <a:endParaRPr lang="en-US" sz="1000" dirty="0">
              <a:latin typeface="ITC Avant Garde Pro Bk" panose="020B0502020202020204" pitchFamily="34" charset="0"/>
              <a:ea typeface="Verdana" panose="020B0604030504040204" pitchFamily="34" charset="0"/>
              <a:sym typeface="ITC Avant Garde Pro Bk" panose="020B0502020202020204" pitchFamily="34" charset="0"/>
            </a:endParaRPr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D3303D0F-EA77-4F10-878F-CA4AF36DB894}"/>
              </a:ext>
            </a:extLst>
          </p:cNvPr>
          <p:cNvSpPr txBox="1"/>
          <p:nvPr/>
        </p:nvSpPr>
        <p:spPr bwMode="gray">
          <a:xfrm>
            <a:off x="2160588" y="1457325"/>
            <a:ext cx="2366963" cy="2301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C Avant Garde Pro Md" panose="020B0602020202020204" pitchFamily="34" charset="0"/>
              </a:rPr>
              <a:t>Offline sales by product class</a:t>
            </a: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C26F5C98-0D1D-4ED7-8E45-B146965F5233}"/>
              </a:ext>
            </a:extLst>
          </p:cNvPr>
          <p:cNvSpPr txBox="1"/>
          <p:nvPr/>
        </p:nvSpPr>
        <p:spPr bwMode="gray">
          <a:xfrm>
            <a:off x="7683500" y="1477963"/>
            <a:ext cx="2447925" cy="2301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C Avant Garde Pro Md" panose="020B0602020202020204" pitchFamily="34" charset="0"/>
              </a:rPr>
              <a:t>Online sales by product class</a:t>
            </a: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9FD423E7-9382-4DF9-9819-000E4C6572D8}"/>
              </a:ext>
            </a:extLst>
          </p:cNvPr>
          <p:cNvSpPr txBox="1"/>
          <p:nvPr/>
        </p:nvSpPr>
        <p:spPr bwMode="gray">
          <a:xfrm>
            <a:off x="688185" y="1176008"/>
            <a:ext cx="11016135" cy="2094235"/>
          </a:xfrm>
          <a:prstGeom prst="rect">
            <a:avLst/>
          </a:prstGeom>
          <a:ln>
            <a:solidFill>
              <a:schemeClr val="bg2">
                <a:lumMod val="50000"/>
              </a:schemeClr>
            </a:solidFill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EBA06B88-C38A-4AE4-AF8B-0F33CDB8D0AB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6167438" y="1244600"/>
            <a:ext cx="179388" cy="133350"/>
          </a:xfrm>
          <a:prstGeom prst="rect">
            <a:avLst/>
          </a:prstGeom>
          <a:solidFill>
            <a:srgbClr val="C0C0C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F68B1CE8-D439-4990-B289-C90F4BFA5079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4578350" y="1244600"/>
            <a:ext cx="179388" cy="133350"/>
          </a:xfrm>
          <a:prstGeom prst="rect">
            <a:avLst/>
          </a:prstGeom>
          <a:solidFill>
            <a:srgbClr val="B51B4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BAFA9078-4D7D-4C69-84D7-D8F178EDE831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5224463" y="1244600"/>
            <a:ext cx="179388" cy="133350"/>
          </a:xfrm>
          <a:prstGeom prst="rect">
            <a:avLst/>
          </a:prstGeom>
          <a:solidFill>
            <a:srgbClr val="96969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5" name="Text Placeholder 2">
            <a:extLst>
              <a:ext uri="{FF2B5EF4-FFF2-40B4-BE49-F238E27FC236}">
                <a16:creationId xmlns:a16="http://schemas.microsoft.com/office/drawing/2014/main" id="{08B3BB16-F185-424D-9038-724B28DA07AC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808538" y="1239838"/>
            <a:ext cx="3143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3FD3563-9F60-4198-80A9-117EF3B64708}" type="datetime'''''''''''Fo''od'''">
              <a:rPr lang="en-US" altLang="en-US" sz="1000" smtClean="0">
                <a:effectLst/>
                <a:latin typeface="ITC Avant Garde Pro Bk" panose="020B0502020202020204" pitchFamily="34" charset="0"/>
                <a:ea typeface="Verdana" panose="020B0604030504040204" pitchFamily="34" charset="0"/>
                <a:sym typeface="ITC Avant Garde Pro Bk" panose="020B050202020202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Food</a:t>
            </a:fld>
            <a:endParaRPr lang="en-US" sz="1000" dirty="0">
              <a:latin typeface="ITC Avant Garde Pro Bk" panose="020B0502020202020204" pitchFamily="34" charset="0"/>
              <a:ea typeface="Verdana" panose="020B0604030504040204" pitchFamily="34" charset="0"/>
              <a:sym typeface="ITC Avant Garde Pro Bk" panose="020B0502020202020204" pitchFamily="34" charset="0"/>
            </a:endParaRPr>
          </a:p>
        </p:txBody>
      </p:sp>
      <p:sp>
        <p:nvSpPr>
          <p:cNvPr id="177" name="Text Placeholder 2">
            <a:extLst>
              <a:ext uri="{FF2B5EF4-FFF2-40B4-BE49-F238E27FC236}">
                <a16:creationId xmlns:a16="http://schemas.microsoft.com/office/drawing/2014/main" id="{08B3BB16-F185-424D-9038-724B28DA07AC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454650" y="1239838"/>
            <a:ext cx="6111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DDFB87C-90CA-48C9-A7D6-4611651DA404}" type="datetime'''''''''''''No''n''''''''-F''''''''oo''''''''''''''d'''''">
              <a:rPr lang="en-US" altLang="en-US" sz="1000" smtClean="0">
                <a:effectLst/>
                <a:latin typeface="ITC Avant Garde Pro Bk" panose="020B0502020202020204" pitchFamily="34" charset="0"/>
                <a:ea typeface="Verdana" panose="020B0604030504040204" pitchFamily="34" charset="0"/>
                <a:sym typeface="ITC Avant Garde Pro Bk" panose="020B050202020202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Non-Food</a:t>
            </a:fld>
            <a:endParaRPr lang="en-US" sz="1000" dirty="0">
              <a:latin typeface="ITC Avant Garde Pro Bk" panose="020B0502020202020204" pitchFamily="34" charset="0"/>
              <a:ea typeface="Verdana" panose="020B0604030504040204" pitchFamily="34" charset="0"/>
              <a:sym typeface="ITC Avant Garde Pro Bk" panose="020B0502020202020204" pitchFamily="34" charset="0"/>
            </a:endParaRPr>
          </a:p>
        </p:txBody>
      </p:sp>
      <p:sp>
        <p:nvSpPr>
          <p:cNvPr id="178" name="Text Placeholder 2">
            <a:extLst>
              <a:ext uri="{FF2B5EF4-FFF2-40B4-BE49-F238E27FC236}">
                <a16:creationId xmlns:a16="http://schemas.microsoft.com/office/drawing/2014/main" id="{08B3BB16-F185-424D-9038-724B28DA07AC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6397625" y="1239838"/>
            <a:ext cx="12350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183FB08-9C8D-471E-A303-168210888C2E}" type="datetime'''''In''-H''''o''''u''''s''e'''' Pro''du''c''t''''i''''''on'">
              <a:rPr lang="en-US" altLang="en-US" sz="1000" smtClean="0">
                <a:effectLst/>
                <a:latin typeface="ITC Avant Garde Pro Bk" panose="020B0502020202020204" pitchFamily="34" charset="0"/>
                <a:ea typeface="Verdana" panose="020B0604030504040204" pitchFamily="34" charset="0"/>
                <a:sym typeface="ITC Avant Garde Pro Bk" panose="020B050202020202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In-House Production</a:t>
            </a:fld>
            <a:endParaRPr lang="en-US" sz="1000" dirty="0">
              <a:latin typeface="ITC Avant Garde Pro Bk" panose="020B0502020202020204" pitchFamily="34" charset="0"/>
              <a:ea typeface="Verdana" panose="020B0604030504040204" pitchFamily="34" charset="0"/>
              <a:sym typeface="ITC Avant Garde Pro Bk" panose="020B050202020202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E06D65D-2883-426B-BAEC-24A506E1D3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6D2641-81B4-4FA9-AABA-CD0BE301EB4F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321724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8698A8C-C100-41A6-B11A-6C9C73367D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7140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2" imgW="378" imgH="377" progId="TCLayout.ActiveDocument.1">
                  <p:embed/>
                </p:oleObj>
              </mc:Choice>
              <mc:Fallback>
                <p:oleObj name="think-cell Slide" r:id="rId92" imgW="378" imgH="377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8698A8C-C100-41A6-B11A-6C9C73367D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0AAD56-6667-4745-ABC8-C2082C5038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6D2641-81B4-4FA9-AABA-CD0BE301EB4F}" type="slidenum">
              <a:rPr lang="en-US" smtClean="0"/>
              <a:t>25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918DE6C-3526-4AEE-9CE1-84327043A4B7}"/>
              </a:ext>
            </a:extLst>
          </p:cNvPr>
          <p:cNvSpPr txBox="1"/>
          <p:nvPr/>
        </p:nvSpPr>
        <p:spPr>
          <a:xfrm>
            <a:off x="688185" y="556502"/>
            <a:ext cx="7410786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ITC Avant Garde Pro Md" panose="020B0602020202020204" pitchFamily="34" charset="0"/>
              </a:rPr>
              <a:t>Offline vs. Online sales by product class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74EC81D-62D4-40C6-B8C5-779E455D66BF}"/>
              </a:ext>
            </a:extLst>
          </p:cNvPr>
          <p:cNvCxnSpPr>
            <a:cxnSpLocks/>
          </p:cNvCxnSpPr>
          <p:nvPr/>
        </p:nvCxnSpPr>
        <p:spPr>
          <a:xfrm>
            <a:off x="688185" y="1082000"/>
            <a:ext cx="1101613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69" name="Chart 468">
            <a:extLst>
              <a:ext uri="{FF2B5EF4-FFF2-40B4-BE49-F238E27FC236}">
                <a16:creationId xmlns:a16="http://schemas.microsoft.com/office/drawing/2014/main" id="{2D999FAB-2CE1-4484-8C97-83A128DB7269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736600" y="3778250"/>
          <a:ext cx="5373688" cy="7413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4"/>
          </a:graphicData>
        </a:graphic>
      </p:graphicFrame>
      <p:sp>
        <p:nvSpPr>
          <p:cNvPr id="284" name="Text Placeholder 20">
            <a:extLst>
              <a:ext uri="{FF2B5EF4-FFF2-40B4-BE49-F238E27FC236}">
                <a16:creationId xmlns:a16="http://schemas.microsoft.com/office/drawing/2014/main" id="{759DD22A-1492-473C-8B7A-625AF7DA77FF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2581275" y="4178300"/>
            <a:ext cx="3810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1E64E318-5761-4F30-B4DB-E657604BD6EE}" type="datetime'''2''''''''''''''''''''''''''''''''''''0'''' ''''''4''0''3'">
              <a:rPr lang="en-US" altLang="en-US" sz="900" smtClean="0">
                <a:solidFill>
                  <a:srgbClr val="FFFFFF"/>
                </a:solidFill>
                <a:effectLst/>
                <a:latin typeface="ITC Avant Garde Pro Bk" panose="020B0502020202020204" pitchFamily="34" charset="0"/>
                <a:sym typeface="ITC Avant Garde Pro Bk" panose="020B0502020202020204" pitchFamily="34" charset="0"/>
              </a:rPr>
              <a:pPr/>
              <a:t>20 403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sym typeface="ITC Avant Garde Pro Bk" panose="020B0502020202020204" pitchFamily="34" charset="0"/>
            </a:endParaRPr>
          </a:p>
        </p:txBody>
      </p:sp>
      <p:sp>
        <p:nvSpPr>
          <p:cNvPr id="282" name="Text Placeholder 20">
            <a:extLst>
              <a:ext uri="{FF2B5EF4-FFF2-40B4-BE49-F238E27FC236}">
                <a16:creationId xmlns:a16="http://schemas.microsoft.com/office/drawing/2014/main" id="{E64FD76A-3380-4EA8-BC5D-C5B40A9870BA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289050" y="4467225"/>
            <a:ext cx="363538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B7E93693-C43E-482D-90A3-EE2B6B319371}" type="datetime'''''O''''''''''''''c''''t''o''b''e''r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October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281" name="Text Placeholder 20">
            <a:extLst>
              <a:ext uri="{FF2B5EF4-FFF2-40B4-BE49-F238E27FC236}">
                <a16:creationId xmlns:a16="http://schemas.microsoft.com/office/drawing/2014/main" id="{B89E1932-070C-4680-98A2-E11AAD12436E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279525" y="4181475"/>
            <a:ext cx="3810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BB44F57E-B55F-4764-9A43-8F71193F16D3}" type="datetime'2''''''''''''0'''''''''''''''''''''''''''''''''' 0''''20'''''">
              <a:rPr lang="en-US" altLang="en-US" sz="900" smtClean="0">
                <a:solidFill>
                  <a:srgbClr val="FFFFFF"/>
                </a:solidFill>
                <a:effectLst/>
                <a:latin typeface="ITC Avant Garde Pro Bk" panose="020B0502020202020204" pitchFamily="34" charset="0"/>
                <a:sym typeface="ITC Avant Garde Pro Bk" panose="020B0502020202020204" pitchFamily="34" charset="0"/>
              </a:rPr>
              <a:pPr/>
              <a:t>20 020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sym typeface="ITC Avant Garde Pro Bk" panose="020B0502020202020204" pitchFamily="34" charset="0"/>
            </a:endParaRPr>
          </a:p>
        </p:txBody>
      </p:sp>
      <p:sp>
        <p:nvSpPr>
          <p:cNvPr id="286" name="Text Placeholder 20">
            <a:extLst>
              <a:ext uri="{FF2B5EF4-FFF2-40B4-BE49-F238E27FC236}">
                <a16:creationId xmlns:a16="http://schemas.microsoft.com/office/drawing/2014/main" id="{5E99A5DA-D496-48BC-B720-083A1AD255E2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536825" y="4467225"/>
            <a:ext cx="469900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02B02647-5570-4FD0-B912-5945482D86B8}" type="datetime'''''''Nov''''''''''''e''''''''''m''''be''''''r''''''''''''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November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283" name="Text Placeholder 20">
            <a:extLst>
              <a:ext uri="{FF2B5EF4-FFF2-40B4-BE49-F238E27FC236}">
                <a16:creationId xmlns:a16="http://schemas.microsoft.com/office/drawing/2014/main" id="{65DE15FF-B4B5-461A-831B-E3582584323D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3884613" y="4086225"/>
            <a:ext cx="3810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572845F0-3744-4DF8-A1C9-A310F9D92903}" type="datetime'''2''''''9'''''''''''''''''' ''''''91''''''''''''''5'''''''''">
              <a:rPr lang="en-US" altLang="en-US" sz="900" smtClean="0">
                <a:solidFill>
                  <a:srgbClr val="FFFFFF"/>
                </a:solidFill>
                <a:effectLst/>
                <a:latin typeface="ITC Avant Garde Pro Bk" panose="020B0502020202020204" pitchFamily="34" charset="0"/>
                <a:sym typeface="ITC Avant Garde Pro Bk" panose="020B0502020202020204" pitchFamily="34" charset="0"/>
              </a:rPr>
              <a:pPr/>
              <a:t>29 915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sym typeface="ITC Avant Garde Pro Bk" panose="020B0502020202020204" pitchFamily="34" charset="0"/>
            </a:endParaRPr>
          </a:p>
        </p:txBody>
      </p:sp>
      <p:sp>
        <p:nvSpPr>
          <p:cNvPr id="285" name="Text Placeholder 20">
            <a:extLst>
              <a:ext uri="{FF2B5EF4-FFF2-40B4-BE49-F238E27FC236}">
                <a16:creationId xmlns:a16="http://schemas.microsoft.com/office/drawing/2014/main" id="{E590826D-D5EF-4AE2-86FF-5190044B2BF2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195888" y="4467225"/>
            <a:ext cx="361950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D125E1EA-E83E-470F-815D-F084E80C27E7}" type="datetime'''''''J''''''a''n''u''''''a''''''''''''r''''y''''''''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January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280" name="Text Placeholder 20">
            <a:extLst>
              <a:ext uri="{FF2B5EF4-FFF2-40B4-BE49-F238E27FC236}">
                <a16:creationId xmlns:a16="http://schemas.microsoft.com/office/drawing/2014/main" id="{77667D1B-2566-4DEF-82BA-AEAD5DD7F9E8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843338" y="4467225"/>
            <a:ext cx="463550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100825D6-242E-49C2-A620-7E51B48BF5E8}" type="datetime'''''''''D''e''''c''e''''m''''''''''''''b''e''''''r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December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279" name="Text Placeholder 20">
            <a:extLst>
              <a:ext uri="{FF2B5EF4-FFF2-40B4-BE49-F238E27FC236}">
                <a16:creationId xmlns:a16="http://schemas.microsoft.com/office/drawing/2014/main" id="{C3F87460-DA04-418D-8E55-2A4F5B1A267C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5186363" y="4168775"/>
            <a:ext cx="3810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7F84A68A-82C8-4EF3-AA9E-2C50F1EBBBC7}" type="datetime'2''''1'' ''''''''''''''3''''4''''''''''3'''''''''''''">
              <a:rPr lang="en-US" altLang="en-US" sz="900" smtClean="0">
                <a:solidFill>
                  <a:srgbClr val="FFFFFF"/>
                </a:solidFill>
                <a:effectLst/>
                <a:latin typeface="ITC Avant Garde Pro Bk" panose="020B0502020202020204" pitchFamily="34" charset="0"/>
                <a:sym typeface="ITC Avant Garde Pro Bk" panose="020B0502020202020204" pitchFamily="34" charset="0"/>
              </a:rPr>
              <a:pPr/>
              <a:t>21 343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sym typeface="ITC Avant Garde Pro Bk" panose="020B0502020202020204" pitchFamily="34" charset="0"/>
            </a:endParaRPr>
          </a:p>
        </p:txBody>
      </p:sp>
      <p:sp>
        <p:nvSpPr>
          <p:cNvPr id="453" name="Text Placeholder 2">
            <a:extLst>
              <a:ext uri="{FF2B5EF4-FFF2-40B4-BE49-F238E27FC236}">
                <a16:creationId xmlns:a16="http://schemas.microsoft.com/office/drawing/2014/main" id="{08B3BB16-F185-424D-9038-724B28DA07AC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333500" y="3889376"/>
            <a:ext cx="2730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DBD5A84-90FF-4C51-A311-42F7F4BCD800}" type="datetime'''''''''8''''''''''''''''''''6''%'''''''''''''''''''''''">
              <a:rPr lang="en-US" altLang="en-US" sz="1000" smtClean="0">
                <a:latin typeface="ITC Avant Garde Pro Bk" panose="020B0502020202020204" pitchFamily="34" charset="0"/>
                <a:ea typeface="Verdana" panose="020B0604030504040204" pitchFamily="34" charset="0"/>
                <a:sym typeface="ITC Avant Garde Pro Bk" panose="020B0502020202020204" pitchFamily="34" charset="0"/>
              </a:rPr>
              <a:pPr/>
              <a:t>86%</a:t>
            </a:fld>
            <a:endParaRPr lang="en-US" sz="1000" dirty="0">
              <a:latin typeface="ITC Avant Garde Pro Bk" panose="020B0502020202020204" pitchFamily="34" charset="0"/>
              <a:ea typeface="Verdana" panose="020B0604030504040204" pitchFamily="34" charset="0"/>
              <a:sym typeface="ITC Avant Garde Pro Bk" panose="020B0502020202020204" pitchFamily="34" charset="0"/>
            </a:endParaRPr>
          </a:p>
        </p:txBody>
      </p:sp>
      <p:sp>
        <p:nvSpPr>
          <p:cNvPr id="454" name="Text Placeholder 2">
            <a:extLst>
              <a:ext uri="{FF2B5EF4-FFF2-40B4-BE49-F238E27FC236}">
                <a16:creationId xmlns:a16="http://schemas.microsoft.com/office/drawing/2014/main" id="{08B3BB16-F185-424D-9038-724B28DA07AC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635250" y="3881439"/>
            <a:ext cx="2730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26DFBE2-20BB-4CA9-B47D-159419530E33}" type="datetime'''''''''8''''''''''''''''''''7''''''''''''''''''''%'''''''">
              <a:rPr lang="en-US" altLang="en-US" sz="1000" smtClean="0">
                <a:latin typeface="ITC Avant Garde Pro Bk" panose="020B0502020202020204" pitchFamily="34" charset="0"/>
                <a:ea typeface="Verdana" panose="020B0604030504040204" pitchFamily="34" charset="0"/>
                <a:sym typeface="ITC Avant Garde Pro Bk" panose="020B0502020202020204" pitchFamily="34" charset="0"/>
              </a:rPr>
              <a:pPr/>
              <a:t>87%</a:t>
            </a:fld>
            <a:endParaRPr lang="en-US" sz="1000" dirty="0">
              <a:latin typeface="ITC Avant Garde Pro Bk" panose="020B0502020202020204" pitchFamily="34" charset="0"/>
              <a:ea typeface="Verdana" panose="020B0604030504040204" pitchFamily="34" charset="0"/>
              <a:sym typeface="ITC Avant Garde Pro Bk" panose="020B0502020202020204" pitchFamily="34" charset="0"/>
            </a:endParaRPr>
          </a:p>
        </p:txBody>
      </p:sp>
      <p:sp>
        <p:nvSpPr>
          <p:cNvPr id="455" name="Text Placeholder 2">
            <a:extLst>
              <a:ext uri="{FF2B5EF4-FFF2-40B4-BE49-F238E27FC236}">
                <a16:creationId xmlns:a16="http://schemas.microsoft.com/office/drawing/2014/main" id="{08B3BB16-F185-424D-9038-724B28DA07AC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3938588" y="3698876"/>
            <a:ext cx="2730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9A866EE-4293-490A-940E-BB422D64C5EC}" type="datetime'''''''''''8''''''7''''''''''''''%'''''">
              <a:rPr lang="en-US" altLang="en-US" sz="1000" smtClean="0">
                <a:latin typeface="ITC Avant Garde Pro Bk" panose="020B0502020202020204" pitchFamily="34" charset="0"/>
                <a:ea typeface="Verdana" panose="020B0604030504040204" pitchFamily="34" charset="0"/>
                <a:sym typeface="ITC Avant Garde Pro Bk" panose="020B0502020202020204" pitchFamily="34" charset="0"/>
              </a:rPr>
              <a:pPr/>
              <a:t>87%</a:t>
            </a:fld>
            <a:endParaRPr lang="en-US" sz="1000" dirty="0">
              <a:latin typeface="ITC Avant Garde Pro Bk" panose="020B0502020202020204" pitchFamily="34" charset="0"/>
              <a:ea typeface="Verdana" panose="020B0604030504040204" pitchFamily="34" charset="0"/>
              <a:sym typeface="ITC Avant Garde Pro Bk" panose="020B0502020202020204" pitchFamily="34" charset="0"/>
            </a:endParaRPr>
          </a:p>
        </p:txBody>
      </p:sp>
      <p:sp>
        <p:nvSpPr>
          <p:cNvPr id="456" name="Text Placeholder 2">
            <a:extLst>
              <a:ext uri="{FF2B5EF4-FFF2-40B4-BE49-F238E27FC236}">
                <a16:creationId xmlns:a16="http://schemas.microsoft.com/office/drawing/2014/main" id="{08B3BB16-F185-424D-9038-724B28DA07AC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5240338" y="3863976"/>
            <a:ext cx="2730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157506D-0D97-46ED-B7CF-5710F579A10F}" type="datetime'''''''''''''''''''''8''''''''''7''''''''''''''%'">
              <a:rPr lang="en-US" altLang="en-US" sz="1000" smtClean="0">
                <a:latin typeface="ITC Avant Garde Pro Bk" panose="020B0502020202020204" pitchFamily="34" charset="0"/>
                <a:ea typeface="Verdana" panose="020B0604030504040204" pitchFamily="34" charset="0"/>
                <a:sym typeface="ITC Avant Garde Pro Bk" panose="020B0502020202020204" pitchFamily="34" charset="0"/>
              </a:rPr>
              <a:pPr/>
              <a:t>87%</a:t>
            </a:fld>
            <a:endParaRPr lang="en-US" sz="1000" dirty="0">
              <a:latin typeface="ITC Avant Garde Pro Bk" panose="020B0502020202020204" pitchFamily="34" charset="0"/>
              <a:ea typeface="Verdana" panose="020B0604030504040204" pitchFamily="34" charset="0"/>
              <a:sym typeface="ITC Avant Garde Pro Bk" panose="020B0502020202020204" pitchFamily="34" charset="0"/>
            </a:endParaRPr>
          </a:p>
        </p:txBody>
      </p:sp>
      <p:graphicFrame>
        <p:nvGraphicFramePr>
          <p:cNvPr id="478" name="Chart 477">
            <a:extLst>
              <a:ext uri="{FF2B5EF4-FFF2-40B4-BE49-F238E27FC236}">
                <a16:creationId xmlns:a16="http://schemas.microsoft.com/office/drawing/2014/main" id="{E0A0CAE9-1EE7-45F0-85B0-74760ABF0193}"/>
              </a:ext>
            </a:extLst>
          </p:cNvPr>
          <p:cNvGraphicFramePr/>
          <p:nvPr>
            <p:custDataLst>
              <p:tags r:id="rId15"/>
            </p:custDataLst>
          </p:nvPr>
        </p:nvGraphicFramePr>
        <p:xfrm>
          <a:off x="736600" y="4806950"/>
          <a:ext cx="5373688" cy="673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5"/>
          </a:graphicData>
        </a:graphic>
      </p:graphicFrame>
      <p:sp>
        <p:nvSpPr>
          <p:cNvPr id="295" name="Text Placeholder 20">
            <a:extLst>
              <a:ext uri="{FF2B5EF4-FFF2-40B4-BE49-F238E27FC236}">
                <a16:creationId xmlns:a16="http://schemas.microsoft.com/office/drawing/2014/main" id="{75179509-6132-44B0-91B3-C64E04462DA9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590800" y="5189538"/>
            <a:ext cx="363538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3407C4BE-4BDE-4A94-B595-44A1EE9FA391}" type="datetime'''''''''''1'''''''''' ''0''''''''5''''''''0'''">
              <a:rPr lang="en-US" altLang="en-US" sz="900" smtClean="0">
                <a:solidFill>
                  <a:srgbClr val="000000"/>
                </a:solidFill>
                <a:effectLst/>
              </a:rPr>
              <a:pPr/>
              <a:t>1 050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294" name="Text Placeholder 20">
            <a:extLst>
              <a:ext uri="{FF2B5EF4-FFF2-40B4-BE49-F238E27FC236}">
                <a16:creationId xmlns:a16="http://schemas.microsoft.com/office/drawing/2014/main" id="{05FD8390-2D85-4BC7-BF18-11A65ECE3280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2536825" y="5427663"/>
            <a:ext cx="469900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7A443BA2-DF9F-4BC2-ADB0-FFA248C3013A}" type="datetime'N''''''''''ov''''''''e''''''m''''b''''''''''''''''''''e''r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November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299" name="Text Placeholder 20">
            <a:extLst>
              <a:ext uri="{FF2B5EF4-FFF2-40B4-BE49-F238E27FC236}">
                <a16:creationId xmlns:a16="http://schemas.microsoft.com/office/drawing/2014/main" id="{F004A9A8-F624-48EC-AF0B-75A5C9150CF0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5195888" y="5192713"/>
            <a:ext cx="363538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41E5B1FB-D085-4B4C-9D38-60A482CB5C66}" type="datetime'''''''''''''''''''''''''1 ''''0''''''''''''25'">
              <a:rPr lang="en-US" altLang="en-US" sz="900" smtClean="0">
                <a:solidFill>
                  <a:srgbClr val="000000"/>
                </a:solidFill>
                <a:effectLst/>
              </a:rPr>
              <a:pPr/>
              <a:t>1 025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292" name="Text Placeholder 20">
            <a:extLst>
              <a:ext uri="{FF2B5EF4-FFF2-40B4-BE49-F238E27FC236}">
                <a16:creationId xmlns:a16="http://schemas.microsoft.com/office/drawing/2014/main" id="{FDA5470E-9602-4813-A749-1291313E03C5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1344613" y="5197475"/>
            <a:ext cx="250825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D59559F0-084C-45CB-93F1-DCBF35C93CC5}" type="datetime'''''''''''''''9''''''''''''''9''2'''''''''''''">
              <a:rPr lang="en-US" altLang="en-US" sz="900" smtClean="0">
                <a:solidFill>
                  <a:srgbClr val="000000"/>
                </a:solidFill>
                <a:effectLst/>
              </a:rPr>
              <a:pPr/>
              <a:t>992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293" name="Text Placeholder 20">
            <a:extLst>
              <a:ext uri="{FF2B5EF4-FFF2-40B4-BE49-F238E27FC236}">
                <a16:creationId xmlns:a16="http://schemas.microsoft.com/office/drawing/2014/main" id="{03A656F7-8C6F-47BB-91BA-729F969B25BB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289050" y="5427663"/>
            <a:ext cx="363538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A7582D90-076E-4BCC-B9F0-4F2D467B6023}" type="datetime'''''O''''''''''''''''''''''ct''''''''''''o''b''''e''r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October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298" name="Text Placeholder 20">
            <a:extLst>
              <a:ext uri="{FF2B5EF4-FFF2-40B4-BE49-F238E27FC236}">
                <a16:creationId xmlns:a16="http://schemas.microsoft.com/office/drawing/2014/main" id="{C3518174-0A0B-4851-87D3-4514B0CF5868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3843338" y="5427663"/>
            <a:ext cx="463550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9111B2D2-FE47-4D4A-BFFF-2E0485159F8D}" type="datetime'''De''''c''''''''''''''e''''mb''''er''''''''''''''''''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December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296" name="Text Placeholder 20">
            <a:extLst>
              <a:ext uri="{FF2B5EF4-FFF2-40B4-BE49-F238E27FC236}">
                <a16:creationId xmlns:a16="http://schemas.microsoft.com/office/drawing/2014/main" id="{165EFC01-A9CF-4266-BD70-0DECE79FE11B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3894138" y="5081588"/>
            <a:ext cx="363538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46A31F3E-1868-4610-B44F-63290A8B1776}" type="datetime'''''''''''1'''''''''''' ''83''''''''''''''''''6'''''''">
              <a:rPr lang="en-US" altLang="en-US" sz="900" smtClean="0">
                <a:solidFill>
                  <a:srgbClr val="000000"/>
                </a:solidFill>
                <a:effectLst/>
              </a:rPr>
              <a:pPr/>
              <a:t>1 836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297" name="Text Placeholder 20">
            <a:extLst>
              <a:ext uri="{FF2B5EF4-FFF2-40B4-BE49-F238E27FC236}">
                <a16:creationId xmlns:a16="http://schemas.microsoft.com/office/drawing/2014/main" id="{68E44AE4-D2DF-4DBE-AE84-21142943BB2D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5195888" y="5427663"/>
            <a:ext cx="361950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E2AC1BE1-F492-4EC6-AF10-CC980AFC66D7}" type="datetime'J''''''''''''a''nu''''a''''''''ry''''''''''''''''''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January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00" name="Text Placeholder 20">
            <a:extLst>
              <a:ext uri="{FF2B5EF4-FFF2-40B4-BE49-F238E27FC236}">
                <a16:creationId xmlns:a16="http://schemas.microsoft.com/office/drawing/2014/main" id="{2BD567DF-061A-458E-B2B8-49B6206EEAC1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1357314" y="4973638"/>
            <a:ext cx="227013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78891B9C-D65E-429C-9653-4C0545438FB4}" type="datetime'4''''''%'''''''">
              <a:rPr lang="ru-RU" altLang="en-US" sz="900" smtClean="0">
                <a:solidFill>
                  <a:srgbClr val="000000"/>
                </a:solidFill>
              </a:rPr>
              <a:pPr/>
              <a:t>4%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03" name="Text Placeholder 20">
            <a:extLst>
              <a:ext uri="{FF2B5EF4-FFF2-40B4-BE49-F238E27FC236}">
                <a16:creationId xmlns:a16="http://schemas.microsoft.com/office/drawing/2014/main" id="{C56EAE04-8C5B-48FD-A3FB-62E81189EAAD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5264151" y="4964113"/>
            <a:ext cx="227013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F657A177-EE83-444F-BEB9-D10A3F164551}" type="datetime'4''''''''''''%'''''''''''''''''''''''''''''''''''''''''''''">
              <a:rPr lang="ru-RU" altLang="en-US" sz="900" smtClean="0">
                <a:solidFill>
                  <a:srgbClr val="000000"/>
                </a:solidFill>
              </a:rPr>
              <a:pPr/>
              <a:t>4%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01" name="Text Placeholder 20">
            <a:extLst>
              <a:ext uri="{FF2B5EF4-FFF2-40B4-BE49-F238E27FC236}">
                <a16:creationId xmlns:a16="http://schemas.microsoft.com/office/drawing/2014/main" id="{AC690105-8C3D-44E4-B786-7FE0B88DE26E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2659064" y="4957763"/>
            <a:ext cx="227013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E5F167C8-94D4-4EB3-939D-21807272BB28}" type="datetime'''''''''4''''''''''''%'''''''''''''''''''''''">
              <a:rPr lang="ru-RU" altLang="en-US" sz="900" smtClean="0">
                <a:solidFill>
                  <a:srgbClr val="000000"/>
                </a:solidFill>
              </a:rPr>
              <a:pPr/>
              <a:t>4%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02" name="Text Placeholder 20">
            <a:extLst>
              <a:ext uri="{FF2B5EF4-FFF2-40B4-BE49-F238E27FC236}">
                <a16:creationId xmlns:a16="http://schemas.microsoft.com/office/drawing/2014/main" id="{88A6FD5C-8293-4E67-BA64-B903B9CD6CDC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3962401" y="4740275"/>
            <a:ext cx="227013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C25183FD-C89E-4210-BF81-CC8FE1D90B91}" type="datetime'5''''''''''''''''''''''''''%'''''''''''''''''''''''''''''''''">
              <a:rPr lang="ru-RU" altLang="en-US" sz="900" smtClean="0">
                <a:solidFill>
                  <a:srgbClr val="000000"/>
                </a:solidFill>
              </a:rPr>
              <a:pPr/>
              <a:t>5%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graphicFrame>
        <p:nvGraphicFramePr>
          <p:cNvPr id="484" name="Chart 483">
            <a:extLst>
              <a:ext uri="{FF2B5EF4-FFF2-40B4-BE49-F238E27FC236}">
                <a16:creationId xmlns:a16="http://schemas.microsoft.com/office/drawing/2014/main" id="{CE4A5D5F-7DBF-4C6E-A885-897DB7A5F541}"/>
              </a:ext>
            </a:extLst>
          </p:cNvPr>
          <p:cNvGraphicFramePr/>
          <p:nvPr>
            <p:custDataLst>
              <p:tags r:id="rId28"/>
            </p:custDataLst>
          </p:nvPr>
        </p:nvGraphicFramePr>
        <p:xfrm>
          <a:off x="736600" y="5772150"/>
          <a:ext cx="5373688" cy="698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6"/>
          </a:graphicData>
        </a:graphic>
      </p:graphicFrame>
      <p:sp>
        <p:nvSpPr>
          <p:cNvPr id="306" name="Text Placeholder 20">
            <a:extLst>
              <a:ext uri="{FF2B5EF4-FFF2-40B4-BE49-F238E27FC236}">
                <a16:creationId xmlns:a16="http://schemas.microsoft.com/office/drawing/2014/main" id="{266D783C-CD22-4EFC-B977-9C0E8E84B03F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1289050" y="6418263"/>
            <a:ext cx="363538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4FA90D5F-5768-44C4-8094-6FF0C6CB11DD}" type="datetime'''''O''''''''''''''c''t''''o''''''''b''''''''''e''''''''r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October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13" name="Text Placeholder 20">
            <a:extLst>
              <a:ext uri="{FF2B5EF4-FFF2-40B4-BE49-F238E27FC236}">
                <a16:creationId xmlns:a16="http://schemas.microsoft.com/office/drawing/2014/main" id="{96EE3D55-BDB6-4FF9-8F4A-9D4B944AA5AA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5195888" y="6100763"/>
            <a:ext cx="363538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2377F8A0-EB20-44EC-99C9-477C6F0F1F9C}" type="datetime'''2'''''''''''' ''''''''2''''''''''''7''''''''''''2'''''">
              <a:rPr lang="en-US" altLang="en-US" sz="900" smtClean="0">
                <a:solidFill>
                  <a:srgbClr val="000000"/>
                </a:solidFill>
                <a:effectLst/>
              </a:rPr>
              <a:pPr/>
              <a:t>2 272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11" name="Text Placeholder 20">
            <a:extLst>
              <a:ext uri="{FF2B5EF4-FFF2-40B4-BE49-F238E27FC236}">
                <a16:creationId xmlns:a16="http://schemas.microsoft.com/office/drawing/2014/main" id="{5D11031C-971D-40F5-89FF-65B3051E5E50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3894138" y="6059488"/>
            <a:ext cx="363538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CD82ECCD-4305-496E-80CE-E498EC43FB9D}" type="datetime'''''''2'' ''''''''''''''''''''''''6''''''''''''9''''6'''''''">
              <a:rPr lang="en-US" altLang="en-US" sz="900" smtClean="0">
                <a:solidFill>
                  <a:srgbClr val="000000"/>
                </a:solidFill>
                <a:effectLst/>
              </a:rPr>
              <a:pPr/>
              <a:t>2 696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07" name="Text Placeholder 20">
            <a:extLst>
              <a:ext uri="{FF2B5EF4-FFF2-40B4-BE49-F238E27FC236}">
                <a16:creationId xmlns:a16="http://schemas.microsoft.com/office/drawing/2014/main" id="{A8E637C7-FA04-48FE-BF93-D6D5E252E66E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1289050" y="6110288"/>
            <a:ext cx="363538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14EE2D28-C3DA-4DF2-A0EE-B98984B9E704}" type="datetime'''2'''''' 1''''''''''''''''''''''8''2'''''''''''''''''''''''''">
              <a:rPr lang="en-US" altLang="en-US" sz="900" smtClean="0">
                <a:solidFill>
                  <a:srgbClr val="000000"/>
                </a:solidFill>
                <a:effectLst/>
              </a:rPr>
              <a:pPr/>
              <a:t>2 182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08" name="Text Placeholder 20">
            <a:extLst>
              <a:ext uri="{FF2B5EF4-FFF2-40B4-BE49-F238E27FC236}">
                <a16:creationId xmlns:a16="http://schemas.microsoft.com/office/drawing/2014/main" id="{AF7FC3E9-ECD6-490B-AE8D-AC507311637C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2590800" y="6116638"/>
            <a:ext cx="363538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2323FB6F-1868-4376-831E-8E414F6CDAEF}" type="datetime'''''''''2'''''''''''' ''''''''''''''''1''''''''''2''''''0'">
              <a:rPr lang="en-US" altLang="en-US" sz="900" smtClean="0">
                <a:solidFill>
                  <a:srgbClr val="000000"/>
                </a:solidFill>
                <a:effectLst/>
              </a:rPr>
              <a:pPr/>
              <a:t>2 120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05" name="Text Placeholder 20">
            <a:extLst>
              <a:ext uri="{FF2B5EF4-FFF2-40B4-BE49-F238E27FC236}">
                <a16:creationId xmlns:a16="http://schemas.microsoft.com/office/drawing/2014/main" id="{5587C96F-4E9E-4032-951A-1F35B6F08846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3843338" y="6418263"/>
            <a:ext cx="463550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7B1DB065-3117-4A2D-8336-8C64D298CEDF}" type="datetime'D''''''''''''''''ec''''e''''''mbe''''''''''''''''r''''''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December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10" name="Text Placeholder 20">
            <a:extLst>
              <a:ext uri="{FF2B5EF4-FFF2-40B4-BE49-F238E27FC236}">
                <a16:creationId xmlns:a16="http://schemas.microsoft.com/office/drawing/2014/main" id="{0FE2DF28-C3C8-47BE-B22B-9592F6BEB880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2536825" y="6418263"/>
            <a:ext cx="469900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14217EA6-E391-4A1F-8CE4-BFA67E2BAB78}" type="datetime'''''''''''N''o''''''ve''m''''''''b''''''er''''''''''''''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November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09" name="Text Placeholder 20">
            <a:extLst>
              <a:ext uri="{FF2B5EF4-FFF2-40B4-BE49-F238E27FC236}">
                <a16:creationId xmlns:a16="http://schemas.microsoft.com/office/drawing/2014/main" id="{F1143350-6D99-4C23-AA14-CC2538507A74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5195888" y="6418263"/>
            <a:ext cx="361950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A0E28E2C-1325-4833-92FD-7D2EB35AB187}" type="datetime'''J''''''''''''''''''a''''''''''''''n''''u''''''a''''ry''''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January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12" name="Text Placeholder 20">
            <a:extLst>
              <a:ext uri="{FF2B5EF4-FFF2-40B4-BE49-F238E27FC236}">
                <a16:creationId xmlns:a16="http://schemas.microsoft.com/office/drawing/2014/main" id="{0D69C787-9D43-4F88-B4CF-B72A573D45B4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1357314" y="5807075"/>
            <a:ext cx="227013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F07FFDF4-452D-411C-97FF-ADF9B1042651}" type="datetime'''''''''''''9''''''''''%'''''''">
              <a:rPr lang="ru-RU" altLang="en-US" sz="900" smtClean="0">
                <a:solidFill>
                  <a:srgbClr val="000000"/>
                </a:solidFill>
              </a:rPr>
              <a:pPr/>
              <a:t>9%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14" name="Text Placeholder 20">
            <a:extLst>
              <a:ext uri="{FF2B5EF4-FFF2-40B4-BE49-F238E27FC236}">
                <a16:creationId xmlns:a16="http://schemas.microsoft.com/office/drawing/2014/main" id="{2F07004D-70CF-4263-BB21-8D603BFCA2F4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2659064" y="5819775"/>
            <a:ext cx="227013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971BA06F-382F-438D-960F-624A5F4815B4}" type="datetime'''''''''9''''''''''''''''''''''''%'''''''">
              <a:rPr lang="ru-RU" altLang="en-US" sz="900" smtClean="0">
                <a:solidFill>
                  <a:srgbClr val="000000"/>
                </a:solidFill>
              </a:rPr>
              <a:pPr/>
              <a:t>9%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15" name="Text Placeholder 20">
            <a:extLst>
              <a:ext uri="{FF2B5EF4-FFF2-40B4-BE49-F238E27FC236}">
                <a16:creationId xmlns:a16="http://schemas.microsoft.com/office/drawing/2014/main" id="{F7432AE3-3637-4807-83B4-32859AC7A131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3962401" y="5705475"/>
            <a:ext cx="227013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9B1E8BB6-0B76-4314-A412-3B30F208CA7A}" type="datetime'''''''''''''''''''''''''''''''''''''8''''''%'''''''''">
              <a:rPr lang="ru-RU" altLang="en-US" sz="900" smtClean="0">
                <a:solidFill>
                  <a:srgbClr val="000000"/>
                </a:solidFill>
              </a:rPr>
              <a:pPr/>
              <a:t>8%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16" name="Text Placeholder 20">
            <a:extLst>
              <a:ext uri="{FF2B5EF4-FFF2-40B4-BE49-F238E27FC236}">
                <a16:creationId xmlns:a16="http://schemas.microsoft.com/office/drawing/2014/main" id="{CBED8358-7668-4D9E-8D8F-105E79F9B9EC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5264151" y="5789613"/>
            <a:ext cx="227013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A893E881-833D-4CE4-ADF4-33AA257EC8E2}" type="datetime'''''''''9''''''''''''''''''%'''''''''''''''''''">
              <a:rPr lang="ru-RU" altLang="en-US" sz="900" smtClean="0">
                <a:solidFill>
                  <a:srgbClr val="000000"/>
                </a:solidFill>
              </a:rPr>
              <a:pPr/>
              <a:t>9%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graphicFrame>
        <p:nvGraphicFramePr>
          <p:cNvPr id="475" name="Chart 474">
            <a:extLst>
              <a:ext uri="{FF2B5EF4-FFF2-40B4-BE49-F238E27FC236}">
                <a16:creationId xmlns:a16="http://schemas.microsoft.com/office/drawing/2014/main" id="{04F35289-76B1-473A-BE24-341341BA96D6}"/>
              </a:ext>
            </a:extLst>
          </p:cNvPr>
          <p:cNvGraphicFramePr/>
          <p:nvPr>
            <p:custDataLst>
              <p:tags r:id="rId41"/>
            </p:custDataLst>
          </p:nvPr>
        </p:nvGraphicFramePr>
        <p:xfrm>
          <a:off x="6437313" y="3778250"/>
          <a:ext cx="5149850" cy="7413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7"/>
          </a:graphicData>
        </a:graphic>
      </p:graphicFrame>
      <p:sp>
        <p:nvSpPr>
          <p:cNvPr id="325" name="Text Placeholder 20">
            <a:extLst>
              <a:ext uri="{FF2B5EF4-FFF2-40B4-BE49-F238E27FC236}">
                <a16:creationId xmlns:a16="http://schemas.microsoft.com/office/drawing/2014/main" id="{2E4A9C4F-7A8E-4031-B421-274F3FB7065F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10769600" y="4160838"/>
            <a:ext cx="2222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9CEF4ED3-B0F5-4D97-8C01-6BF7BB24C15E}" type="datetime'''''''''''2''''3''''''''''''''''''''''''2'''''''''''''''">
              <a:rPr lang="en-US" altLang="en-US" sz="900" smtClean="0">
                <a:solidFill>
                  <a:srgbClr val="FFFFFF"/>
                </a:solidFill>
                <a:latin typeface="ITC Avant Garde Pro Bk" panose="020B0502020202020204" pitchFamily="34" charset="0"/>
                <a:sym typeface="ITC Avant Garde Pro Bk" panose="020B050202020202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232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sym typeface="ITC Avant Garde Pro Bk" panose="020B0502020202020204" pitchFamily="34" charset="0"/>
            </a:endParaRPr>
          </a:p>
        </p:txBody>
      </p:sp>
      <p:sp>
        <p:nvSpPr>
          <p:cNvPr id="320" name="Text Placeholder 20">
            <a:extLst>
              <a:ext uri="{FF2B5EF4-FFF2-40B4-BE49-F238E27FC236}">
                <a16:creationId xmlns:a16="http://schemas.microsoft.com/office/drawing/2014/main" id="{39B37429-0D12-4B90-8BE4-EA33B0FB5142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8277225" y="4221163"/>
            <a:ext cx="2222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21A84E55-C397-4981-B9DB-5C236E99D168}" type="datetime'''''''''''''''''''''''''''''''''''''''''167'''''">
              <a:rPr lang="en-US" altLang="en-US" sz="900" smtClean="0">
                <a:solidFill>
                  <a:srgbClr val="FFFFFF"/>
                </a:solidFill>
                <a:latin typeface="ITC Avant Garde Pro Bk" panose="020B0502020202020204" pitchFamily="34" charset="0"/>
                <a:sym typeface="ITC Avant Garde Pro Bk" panose="020B050202020202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67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sym typeface="ITC Avant Garde Pro Bk" panose="020B0502020202020204" pitchFamily="34" charset="0"/>
            </a:endParaRPr>
          </a:p>
        </p:txBody>
      </p:sp>
      <p:sp>
        <p:nvSpPr>
          <p:cNvPr id="321" name="Text Placeholder 20">
            <a:extLst>
              <a:ext uri="{FF2B5EF4-FFF2-40B4-BE49-F238E27FC236}">
                <a16:creationId xmlns:a16="http://schemas.microsoft.com/office/drawing/2014/main" id="{B7DB79DC-5170-4885-9C2A-0E6DC3DD4244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7031038" y="4260850"/>
            <a:ext cx="2222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B72B4492-DFED-4EC7-B3E5-87A21BF458D4}" type="datetime'''1''''''''''''2''''''''3'''''''''''">
              <a:rPr lang="en-US" altLang="en-US" sz="900" smtClean="0">
                <a:solidFill>
                  <a:srgbClr val="FFFFFF"/>
                </a:solidFill>
                <a:latin typeface="ITC Avant Garde Pro Bk" panose="020B0502020202020204" pitchFamily="34" charset="0"/>
                <a:sym typeface="ITC Avant Garde Pro Bk" panose="020B050202020202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23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sym typeface="ITC Avant Garde Pro Bk" panose="020B0502020202020204" pitchFamily="34" charset="0"/>
            </a:endParaRPr>
          </a:p>
        </p:txBody>
      </p:sp>
      <p:sp>
        <p:nvSpPr>
          <p:cNvPr id="319" name="Text Placeholder 20">
            <a:extLst>
              <a:ext uri="{FF2B5EF4-FFF2-40B4-BE49-F238E27FC236}">
                <a16:creationId xmlns:a16="http://schemas.microsoft.com/office/drawing/2014/main" id="{E30A4476-584B-41EB-8660-84540339B424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9402763" y="4467225"/>
            <a:ext cx="463550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D1B95BD0-D7B7-4E7E-B576-F4EC73CA125C}" type="datetime'''''De''''''ce''''''''''''''''''''''''''''m''''b''e''r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December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23" name="Text Placeholder 20">
            <a:extLst>
              <a:ext uri="{FF2B5EF4-FFF2-40B4-BE49-F238E27FC236}">
                <a16:creationId xmlns:a16="http://schemas.microsoft.com/office/drawing/2014/main" id="{2B0B213C-84A1-47C2-A9D9-5682D16B6D1B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6961188" y="4467225"/>
            <a:ext cx="363538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E01034F9-8FA1-47C9-89E4-1E13592B3C09}" type="datetime'''''''''O''c''''''''t''''''''''o''b''''''''er''''''''''''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October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18" name="Text Placeholder 20">
            <a:extLst>
              <a:ext uri="{FF2B5EF4-FFF2-40B4-BE49-F238E27FC236}">
                <a16:creationId xmlns:a16="http://schemas.microsoft.com/office/drawing/2014/main" id="{CFFDBC3D-3A14-433A-8F1C-BA30870F7BC2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10699750" y="4467225"/>
            <a:ext cx="361950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0621B4AE-F7AD-4791-9059-F9EF6703DCE1}" type="datetime'''''J''''''''''''a''n''''''''u''a''''''''''''r''y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January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22" name="Text Placeholder 20">
            <a:extLst>
              <a:ext uri="{FF2B5EF4-FFF2-40B4-BE49-F238E27FC236}">
                <a16:creationId xmlns:a16="http://schemas.microsoft.com/office/drawing/2014/main" id="{D39D5236-077C-4D5E-B658-598148C069D4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8153400" y="4467225"/>
            <a:ext cx="469900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D04A336D-006B-40AA-ABCE-1A64B1C1EB23}" type="datetime'''''''''''''''''No''v''em''''b''''''''e''''''''r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November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24" name="Text Placeholder 20">
            <a:extLst>
              <a:ext uri="{FF2B5EF4-FFF2-40B4-BE49-F238E27FC236}">
                <a16:creationId xmlns:a16="http://schemas.microsoft.com/office/drawing/2014/main" id="{D64734CF-7210-4E09-8FF9-0082D8A50B90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9523413" y="4086225"/>
            <a:ext cx="2222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F89DA68B-3245-4098-B243-2EC53C458657}" type="datetime'''''''''''''''''''''''''3''''''''''''1''''''''''''4'''''">
              <a:rPr lang="en-US" altLang="en-US" sz="900" smtClean="0">
                <a:solidFill>
                  <a:srgbClr val="FFFFFF"/>
                </a:solidFill>
                <a:latin typeface="ITC Avant Garde Pro Bk" panose="020B0502020202020204" pitchFamily="34" charset="0"/>
                <a:sym typeface="ITC Avant Garde Pro Bk" panose="020B050202020202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314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sym typeface="ITC Avant Garde Pro Bk" panose="020B0502020202020204" pitchFamily="34" charset="0"/>
            </a:endParaRPr>
          </a:p>
        </p:txBody>
      </p:sp>
      <p:sp>
        <p:nvSpPr>
          <p:cNvPr id="326" name="Text Placeholder 20">
            <a:extLst>
              <a:ext uri="{FF2B5EF4-FFF2-40B4-BE49-F238E27FC236}">
                <a16:creationId xmlns:a16="http://schemas.microsoft.com/office/drawing/2014/main" id="{9896F5C2-0296-4FD1-BFBB-E92DB4D21E5C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6992938" y="4060825"/>
            <a:ext cx="300038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8C13D74B-C726-48FB-91DD-AE8307FA9418}" type="datetime'''''''''''''''''''''9''''5''''%'''''">
              <a:rPr lang="ru-RU" altLang="en-US" sz="900" smtClean="0">
                <a:solidFill>
                  <a:srgbClr val="000000"/>
                </a:solidFill>
              </a:rPr>
              <a:pPr/>
              <a:t>95%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27" name="Text Placeholder 20">
            <a:extLst>
              <a:ext uri="{FF2B5EF4-FFF2-40B4-BE49-F238E27FC236}">
                <a16:creationId xmlns:a16="http://schemas.microsoft.com/office/drawing/2014/main" id="{FBDF9748-3166-41E4-B95A-F27EC8D293FD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8239125" y="3981450"/>
            <a:ext cx="300038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53A751AD-B4B2-4E9A-B22A-1DE2E29008F6}" type="datetime'''''''''''''''''''9''''''''''''''''4''''''''%'''''''''''''">
              <a:rPr lang="ru-RU" altLang="en-US" sz="900" smtClean="0">
                <a:solidFill>
                  <a:srgbClr val="000000"/>
                </a:solidFill>
              </a:rPr>
              <a:pPr/>
              <a:t>94%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28" name="Text Placeholder 20">
            <a:extLst>
              <a:ext uri="{FF2B5EF4-FFF2-40B4-BE49-F238E27FC236}">
                <a16:creationId xmlns:a16="http://schemas.microsoft.com/office/drawing/2014/main" id="{34488871-F08F-4362-B6CD-8705A6D6EEEE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9485313" y="3711575"/>
            <a:ext cx="300038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73A2F971-67C7-44EF-93EA-E12184DDA8ED}" type="datetime'95''''%'''''''''''''''''''''''''''''''''''''''''''">
              <a:rPr lang="ru-RU" altLang="en-US" sz="900" smtClean="0">
                <a:solidFill>
                  <a:srgbClr val="000000"/>
                </a:solidFill>
              </a:rPr>
              <a:pPr/>
              <a:t>95%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29" name="Text Placeholder 20">
            <a:extLst>
              <a:ext uri="{FF2B5EF4-FFF2-40B4-BE49-F238E27FC236}">
                <a16:creationId xmlns:a16="http://schemas.microsoft.com/office/drawing/2014/main" id="{BCA9720F-E207-44DB-9E5F-7E6E0548A209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10731500" y="3860800"/>
            <a:ext cx="300038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13C3A8BC-9C0F-4A67-A1B8-9DA9DFAE63F9}" type="datetime'''''''''9''''''3%'''''''''''''''''''''''''''">
              <a:rPr lang="ru-RU" altLang="en-US" sz="900" smtClean="0">
                <a:solidFill>
                  <a:srgbClr val="000000"/>
                </a:solidFill>
              </a:rPr>
              <a:pPr/>
              <a:t>93%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graphicFrame>
        <p:nvGraphicFramePr>
          <p:cNvPr id="481" name="Chart 480">
            <a:extLst>
              <a:ext uri="{FF2B5EF4-FFF2-40B4-BE49-F238E27FC236}">
                <a16:creationId xmlns:a16="http://schemas.microsoft.com/office/drawing/2014/main" id="{456E56D3-D2BB-4216-97A5-7B074E1C2DC5}"/>
              </a:ext>
            </a:extLst>
          </p:cNvPr>
          <p:cNvGraphicFramePr/>
          <p:nvPr>
            <p:custDataLst>
              <p:tags r:id="rId54"/>
            </p:custDataLst>
          </p:nvPr>
        </p:nvGraphicFramePr>
        <p:xfrm>
          <a:off x="6437313" y="4806950"/>
          <a:ext cx="5149850" cy="673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8"/>
          </a:graphicData>
        </a:graphic>
      </p:graphicFrame>
      <p:sp>
        <p:nvSpPr>
          <p:cNvPr id="335" name="Text Placeholder 20">
            <a:extLst>
              <a:ext uri="{FF2B5EF4-FFF2-40B4-BE49-F238E27FC236}">
                <a16:creationId xmlns:a16="http://schemas.microsoft.com/office/drawing/2014/main" id="{D0EBBB87-343D-4715-BBE2-F9EF2826D42D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9525000" y="5081588"/>
            <a:ext cx="219075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EC393E9C-DE3D-473B-A70E-D8E921AE67EE}" type="datetime'''''''5''.''''0'''''''">
              <a:rPr lang="en-US" altLang="en-US" sz="9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5.0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37" name="Text Placeholder 20">
            <a:extLst>
              <a:ext uri="{FF2B5EF4-FFF2-40B4-BE49-F238E27FC236}">
                <a16:creationId xmlns:a16="http://schemas.microsoft.com/office/drawing/2014/main" id="{FAD9D92D-3E7A-44C9-8682-27150591F3A4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8153400" y="5427663"/>
            <a:ext cx="469900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235B30D5-9DD2-46E3-A51C-79D7FD20984F}" type="datetime'''''''''Nov''''''''''''''''e''''m''''b''e''''''''r''''''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November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42" name="Text Placeholder 20">
            <a:extLst>
              <a:ext uri="{FF2B5EF4-FFF2-40B4-BE49-F238E27FC236}">
                <a16:creationId xmlns:a16="http://schemas.microsoft.com/office/drawing/2014/main" id="{74941562-3F20-448B-9F5E-87430D6BDF71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10768014" y="4770438"/>
            <a:ext cx="227013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8FBB0D5E-8D66-4C93-9693-75AE7ECAC6BD}" type="datetime'''''''''''''''''2''''''''''''''%'''''''''">
              <a:rPr lang="ru-RU" altLang="en-US" sz="900" smtClean="0">
                <a:solidFill>
                  <a:srgbClr val="000000"/>
                </a:solidFill>
              </a:rPr>
              <a:pPr/>
              <a:t>2%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32" name="Text Placeholder 20">
            <a:extLst>
              <a:ext uri="{FF2B5EF4-FFF2-40B4-BE49-F238E27FC236}">
                <a16:creationId xmlns:a16="http://schemas.microsoft.com/office/drawing/2014/main" id="{10D81B04-A900-401E-BE9A-B6F6FAE7D2E9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7032625" y="5213350"/>
            <a:ext cx="219075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0B7E10B5-B837-4A09-A9A7-32604C2A11CA}" type="datetime'''''''''''''''''''''''''''2''''''.4'''''''''''''">
              <a:rPr lang="en-US" altLang="en-US" sz="9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2.4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33" name="Text Placeholder 20">
            <a:extLst>
              <a:ext uri="{FF2B5EF4-FFF2-40B4-BE49-F238E27FC236}">
                <a16:creationId xmlns:a16="http://schemas.microsoft.com/office/drawing/2014/main" id="{F4AECDE2-ADD8-40E6-817B-5931AD874541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6961188" y="5427663"/>
            <a:ext cx="363538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C8B40A00-4B8F-480A-9541-B928401D5475}" type="datetime'''''''''''''''''''''''Oc''''to''''''''''''b''er''''''''''''''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October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31" name="Text Placeholder 20">
            <a:extLst>
              <a:ext uri="{FF2B5EF4-FFF2-40B4-BE49-F238E27FC236}">
                <a16:creationId xmlns:a16="http://schemas.microsoft.com/office/drawing/2014/main" id="{65A012B9-4559-4233-994F-70C7A2ECADDA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10771188" y="5095875"/>
            <a:ext cx="219075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E472E8C7-04CE-48AB-8D3C-ED658FF42F4E}" type="datetime'''''''''''''4''''''''''''''''''''.''''''''7'''''''">
              <a:rPr lang="en-US" altLang="en-US" sz="9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4.7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38" name="Text Placeholder 20">
            <a:extLst>
              <a:ext uri="{FF2B5EF4-FFF2-40B4-BE49-F238E27FC236}">
                <a16:creationId xmlns:a16="http://schemas.microsoft.com/office/drawing/2014/main" id="{73F57AD8-607B-4BD7-8057-F6DA2EDEC309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10699750" y="5427663"/>
            <a:ext cx="361950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8EF33C83-E4A0-40AC-9515-8477A54F1B92}" type="datetime'''''J''''''''''''an''''u''a''''''''''''''ry''''''''''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January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36" name="Text Placeholder 20">
            <a:extLst>
              <a:ext uri="{FF2B5EF4-FFF2-40B4-BE49-F238E27FC236}">
                <a16:creationId xmlns:a16="http://schemas.microsoft.com/office/drawing/2014/main" id="{808368B2-2319-4ABD-8105-0F683401EE8E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9402763" y="5427663"/>
            <a:ext cx="463550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F4A90AB2-CB41-458A-B298-4A0D1A7AA4BA}" type="datetime'''D''''''''''ec''''''''''''''''''''''em''''''b''e''''''r''''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December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34" name="Text Placeholder 20">
            <a:extLst>
              <a:ext uri="{FF2B5EF4-FFF2-40B4-BE49-F238E27FC236}">
                <a16:creationId xmlns:a16="http://schemas.microsoft.com/office/drawing/2014/main" id="{50E24D66-B624-4CFD-8554-BA1EF43C4872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gray">
          <a:xfrm>
            <a:off x="8278813" y="5194300"/>
            <a:ext cx="219075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E2533EE4-E919-47C0-B614-2628C389DD76}" type="datetime'''''2''''.7'''''''''''''''''''''''''''''''''''''''''''''''''">
              <a:rPr lang="en-US" altLang="en-US" sz="9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2.7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39" name="Text Placeholder 20">
            <a:extLst>
              <a:ext uri="{FF2B5EF4-FFF2-40B4-BE49-F238E27FC236}">
                <a16:creationId xmlns:a16="http://schemas.microsoft.com/office/drawing/2014/main" id="{89D494D6-6A47-4F03-AFA0-A0209A8F62DE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7029451" y="5005388"/>
            <a:ext cx="227013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9C34B38C-35DA-42F5-AE79-466E44EFF741}" type="datetime'2''''''''%'''''''''''''''''''''''''''''''''''''''''''">
              <a:rPr lang="ru-RU" altLang="en-US" sz="900" smtClean="0">
                <a:solidFill>
                  <a:srgbClr val="000000"/>
                </a:solidFill>
              </a:rPr>
              <a:pPr/>
              <a:t>2%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40" name="Text Placeholder 20">
            <a:extLst>
              <a:ext uri="{FF2B5EF4-FFF2-40B4-BE49-F238E27FC236}">
                <a16:creationId xmlns:a16="http://schemas.microsoft.com/office/drawing/2014/main" id="{F7DCD50B-ECC3-492E-B256-0D085D673A65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gray">
          <a:xfrm>
            <a:off x="8275639" y="4967288"/>
            <a:ext cx="227013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C09E27FF-0DE2-4204-9BBC-EA798BBA03C1}" type="datetime'''''''''''''''''''''''2''''''''''''%'''''''''''">
              <a:rPr lang="ru-RU" altLang="en-US" sz="900" smtClean="0">
                <a:solidFill>
                  <a:srgbClr val="000000"/>
                </a:solidFill>
              </a:rPr>
              <a:pPr/>
              <a:t>2%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41" name="Text Placeholder 20">
            <a:extLst>
              <a:ext uri="{FF2B5EF4-FFF2-40B4-BE49-F238E27FC236}">
                <a16:creationId xmlns:a16="http://schemas.microsoft.com/office/drawing/2014/main" id="{EBF3CAF5-C7CA-477B-B69D-BDD7C90EE84E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gray">
          <a:xfrm>
            <a:off x="9521826" y="4740275"/>
            <a:ext cx="227013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BA967698-C120-4426-84B8-C0AEEE1B995D}" type="datetime'''''''''''''''''2''''''''''''''''''%'''''''''''''''''''">
              <a:rPr lang="ru-RU" altLang="en-US" sz="900" smtClean="0">
                <a:solidFill>
                  <a:srgbClr val="000000"/>
                </a:solidFill>
              </a:rPr>
              <a:pPr/>
              <a:t>2%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graphicFrame>
        <p:nvGraphicFramePr>
          <p:cNvPr id="487" name="Chart 486">
            <a:extLst>
              <a:ext uri="{FF2B5EF4-FFF2-40B4-BE49-F238E27FC236}">
                <a16:creationId xmlns:a16="http://schemas.microsoft.com/office/drawing/2014/main" id="{2A6B7C0C-81FF-42F1-BA10-755ECEA00BC4}"/>
              </a:ext>
            </a:extLst>
          </p:cNvPr>
          <p:cNvGraphicFramePr/>
          <p:nvPr>
            <p:custDataLst>
              <p:tags r:id="rId67"/>
            </p:custDataLst>
          </p:nvPr>
        </p:nvGraphicFramePr>
        <p:xfrm>
          <a:off x="6437313" y="5772150"/>
          <a:ext cx="5149850" cy="698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9"/>
          </a:graphicData>
        </a:graphic>
      </p:graphicFrame>
      <p:sp>
        <p:nvSpPr>
          <p:cNvPr id="351" name="Text Placeholder 20">
            <a:extLst>
              <a:ext uri="{FF2B5EF4-FFF2-40B4-BE49-F238E27FC236}">
                <a16:creationId xmlns:a16="http://schemas.microsoft.com/office/drawing/2014/main" id="{EEA02C67-A38F-4331-9C5E-296E81CAA0E5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8153400" y="6418263"/>
            <a:ext cx="469900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3B6C988C-2FF1-4EFB-AC7A-02190E97BD4E}" type="datetime'No''''v''''''''''''''e''''m''''''''''b''e''''''''''''''''''r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November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47" name="Text Placeholder 20">
            <a:extLst>
              <a:ext uri="{FF2B5EF4-FFF2-40B4-BE49-F238E27FC236}">
                <a16:creationId xmlns:a16="http://schemas.microsoft.com/office/drawing/2014/main" id="{8F556DAB-AAF8-4F7C-83BE-A387D7BC4DBE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gray">
          <a:xfrm>
            <a:off x="7032625" y="6227763"/>
            <a:ext cx="219075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C6BD7A9B-D375-47AA-BE2B-5B38BBF8C734}" type="datetime'''''''''''''''''''4''''''''''.''''6'''">
              <a:rPr lang="en-US" altLang="en-US" sz="9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4.6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44" name="Text Placeholder 20">
            <a:extLst>
              <a:ext uri="{FF2B5EF4-FFF2-40B4-BE49-F238E27FC236}">
                <a16:creationId xmlns:a16="http://schemas.microsoft.com/office/drawing/2014/main" id="{0C5D14BD-B19B-4DCE-B08B-DB133B9272FC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9402763" y="6418263"/>
            <a:ext cx="463550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F2D951EF-C02F-40D0-8459-CEFBCC549ED1}" type="datetime'''De''c''''''''''''''''emb''''''''e''''''''''''r''''''''''''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December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45" name="Text Placeholder 20">
            <a:extLst>
              <a:ext uri="{FF2B5EF4-FFF2-40B4-BE49-F238E27FC236}">
                <a16:creationId xmlns:a16="http://schemas.microsoft.com/office/drawing/2014/main" id="{9FF51D9A-683B-4586-9A94-5FF09C2DE04F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6961188" y="6418263"/>
            <a:ext cx="363538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C2FAAF36-FA6F-4E0A-B43D-ECF40207C1B0}" type="datetime'''''''''''''Oc''''to''''''''be''''''''''''''''''r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October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49" name="Text Placeholder 20">
            <a:extLst>
              <a:ext uri="{FF2B5EF4-FFF2-40B4-BE49-F238E27FC236}">
                <a16:creationId xmlns:a16="http://schemas.microsoft.com/office/drawing/2014/main" id="{CC701ECA-01AE-4291-A511-C051F9364359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gray">
          <a:xfrm>
            <a:off x="8278813" y="6161088"/>
            <a:ext cx="219075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6237A40C-E2BB-427F-83D2-DC54CD03EB4A}" type="datetime'''7.''''''''''''''''''''''''''''''''''''''''''''''7'''''''">
              <a:rPr lang="en-US" altLang="en-US" sz="9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7.7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48" name="Text Placeholder 20">
            <a:extLst>
              <a:ext uri="{FF2B5EF4-FFF2-40B4-BE49-F238E27FC236}">
                <a16:creationId xmlns:a16="http://schemas.microsoft.com/office/drawing/2014/main" id="{3EEBA065-5313-41D1-8578-E0329BCF18F7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gray">
          <a:xfrm>
            <a:off x="9488488" y="6059488"/>
            <a:ext cx="2921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C91EAD31-976C-4CEA-9A6F-DD5789CACDDB}" type="datetime'''''''''''''''1''''''2''''''''''''''.''''4'''''''''''">
              <a:rPr lang="en-US" altLang="en-US" sz="9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2.4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50" name="Text Placeholder 20">
            <a:extLst>
              <a:ext uri="{FF2B5EF4-FFF2-40B4-BE49-F238E27FC236}">
                <a16:creationId xmlns:a16="http://schemas.microsoft.com/office/drawing/2014/main" id="{CCE7AF8C-C14E-40A4-B484-0FDE5DE70581}"/>
              </a:ext>
            </a:extLst>
          </p:cNvPr>
          <p:cNvSpPr>
            <a:spLocks noGrp="1"/>
          </p:cNvSpPr>
          <p:nvPr>
            <p:custDataLst>
              <p:tags r:id="rId74"/>
            </p:custDataLst>
          </p:nvPr>
        </p:nvSpPr>
        <p:spPr bwMode="gray">
          <a:xfrm>
            <a:off x="10734675" y="6076950"/>
            <a:ext cx="2921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0556C161-1B54-4BBE-9EF2-906FB817F3C8}" type="datetime'''''''''''''1''''''1''''''''''.''''''''''''''''''6'''''">
              <a:rPr lang="en-US" altLang="en-US" sz="9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1.6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52" name="Text Placeholder 20">
            <a:extLst>
              <a:ext uri="{FF2B5EF4-FFF2-40B4-BE49-F238E27FC236}">
                <a16:creationId xmlns:a16="http://schemas.microsoft.com/office/drawing/2014/main" id="{0BF0CAFD-DF40-4C16-9F2D-9C0C53396092}"/>
              </a:ext>
            </a:extLst>
          </p:cNvPr>
          <p:cNvSpPr>
            <a:spLocks noGrp="1"/>
          </p:cNvSpPr>
          <p:nvPr>
            <p:custDataLst>
              <p:tags r:id="rId75"/>
            </p:custDataLst>
          </p:nvPr>
        </p:nvSpPr>
        <p:spPr bwMode="auto">
          <a:xfrm>
            <a:off x="10699750" y="6418263"/>
            <a:ext cx="361950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A7568E8D-3C63-45DD-8A5B-0EE6C77010C0}" type="datetime'J''''''''a''''''''''''''''''n''ua''''''r''''''''''''''''''y''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January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55" name="Text Placeholder 20">
            <a:extLst>
              <a:ext uri="{FF2B5EF4-FFF2-40B4-BE49-F238E27FC236}">
                <a16:creationId xmlns:a16="http://schemas.microsoft.com/office/drawing/2014/main" id="{ED0C2B24-CFCB-482C-8CC9-CDC3633C597B}"/>
              </a:ext>
            </a:extLst>
          </p:cNvPr>
          <p:cNvSpPr>
            <a:spLocks noGrp="1"/>
          </p:cNvSpPr>
          <p:nvPr>
            <p:custDataLst>
              <p:tags r:id="rId76"/>
            </p:custDataLst>
          </p:nvPr>
        </p:nvSpPr>
        <p:spPr bwMode="gray">
          <a:xfrm>
            <a:off x="10768014" y="5741988"/>
            <a:ext cx="227013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576AF17F-1A80-4630-B893-EF0B96A8B2F5}" type="datetime'''5''''%'''''''''''''''''''''''''''''''''''''''''''">
              <a:rPr lang="ru-RU" altLang="en-US" sz="900" smtClean="0">
                <a:solidFill>
                  <a:srgbClr val="000000"/>
                </a:solidFill>
              </a:rPr>
              <a:pPr/>
              <a:t>5%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53" name="Text Placeholder 20">
            <a:extLst>
              <a:ext uri="{FF2B5EF4-FFF2-40B4-BE49-F238E27FC236}">
                <a16:creationId xmlns:a16="http://schemas.microsoft.com/office/drawing/2014/main" id="{9AA5D4C8-4E51-453B-9FF4-D0890B9C2AD5}"/>
              </a:ext>
            </a:extLst>
          </p:cNvPr>
          <p:cNvSpPr>
            <a:spLocks noGrp="1"/>
          </p:cNvSpPr>
          <p:nvPr>
            <p:custDataLst>
              <p:tags r:id="rId77"/>
            </p:custDataLst>
          </p:nvPr>
        </p:nvSpPr>
        <p:spPr bwMode="gray">
          <a:xfrm>
            <a:off x="7029451" y="6042025"/>
            <a:ext cx="227013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2154C024-A749-4F5F-94E8-B170774AA441}" type="datetime'''''''''''''''''''''4''%'''''''''''''">
              <a:rPr lang="ru-RU" altLang="en-US" sz="900" smtClean="0">
                <a:solidFill>
                  <a:srgbClr val="000000"/>
                </a:solidFill>
              </a:rPr>
              <a:pPr/>
              <a:t>4%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46" name="Text Placeholder 20">
            <a:extLst>
              <a:ext uri="{FF2B5EF4-FFF2-40B4-BE49-F238E27FC236}">
                <a16:creationId xmlns:a16="http://schemas.microsoft.com/office/drawing/2014/main" id="{AA170D68-2EA4-4EDC-B576-9DB662C371C5}"/>
              </a:ext>
            </a:extLst>
          </p:cNvPr>
          <p:cNvSpPr>
            <a:spLocks noGrp="1"/>
          </p:cNvSpPr>
          <p:nvPr>
            <p:custDataLst>
              <p:tags r:id="rId78"/>
            </p:custDataLst>
          </p:nvPr>
        </p:nvSpPr>
        <p:spPr bwMode="gray">
          <a:xfrm>
            <a:off x="8275639" y="5910263"/>
            <a:ext cx="227013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0B33E5BB-E164-483A-9897-45B8E10AEB79}" type="datetime'''''''''4''''''''''''''''''''''''''''''''%'''''''''">
              <a:rPr lang="ru-RU" altLang="en-US" sz="900" smtClean="0">
                <a:solidFill>
                  <a:srgbClr val="000000"/>
                </a:solidFill>
              </a:rPr>
              <a:pPr/>
              <a:t>4%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54" name="Text Placeholder 20">
            <a:extLst>
              <a:ext uri="{FF2B5EF4-FFF2-40B4-BE49-F238E27FC236}">
                <a16:creationId xmlns:a16="http://schemas.microsoft.com/office/drawing/2014/main" id="{CC9DF715-B551-4808-BC18-3C5700E11EDD}"/>
              </a:ext>
            </a:extLst>
          </p:cNvPr>
          <p:cNvSpPr>
            <a:spLocks noGrp="1"/>
          </p:cNvSpPr>
          <p:nvPr>
            <p:custDataLst>
              <p:tags r:id="rId79"/>
            </p:custDataLst>
          </p:nvPr>
        </p:nvSpPr>
        <p:spPr bwMode="gray">
          <a:xfrm>
            <a:off x="9521826" y="5705475"/>
            <a:ext cx="227013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2679BAE2-C0FA-44A5-9D6D-51EAF12CBDE5}" type="datetime'''4''''''''''%'''''''''''''''''''''''''''''''">
              <a:rPr lang="ru-RU" altLang="en-US" sz="900" smtClean="0">
                <a:solidFill>
                  <a:srgbClr val="000000"/>
                </a:solidFill>
              </a:rPr>
              <a:pPr/>
              <a:t>4%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56" name="TextBox 355">
            <a:extLst>
              <a:ext uri="{FF2B5EF4-FFF2-40B4-BE49-F238E27FC236}">
                <a16:creationId xmlns:a16="http://schemas.microsoft.com/office/drawing/2014/main" id="{D0E5D872-DF7B-425C-8432-F445B3F8A396}"/>
              </a:ext>
            </a:extLst>
          </p:cNvPr>
          <p:cNvSpPr txBox="1"/>
          <p:nvPr/>
        </p:nvSpPr>
        <p:spPr bwMode="gray">
          <a:xfrm>
            <a:off x="1833563" y="3390099"/>
            <a:ext cx="3289300" cy="2301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C Avant Garde Pro Md" panose="020B0602020202020204" pitchFamily="34" charset="0"/>
              </a:rPr>
              <a:t>Offline sales by product class, in million tenge</a:t>
            </a:r>
          </a:p>
        </p:txBody>
      </p:sp>
      <p:sp>
        <p:nvSpPr>
          <p:cNvPr id="357" name="TextBox 356">
            <a:extLst>
              <a:ext uri="{FF2B5EF4-FFF2-40B4-BE49-F238E27FC236}">
                <a16:creationId xmlns:a16="http://schemas.microsoft.com/office/drawing/2014/main" id="{720541E3-C9B3-4889-911B-DB4733A82029}"/>
              </a:ext>
            </a:extLst>
          </p:cNvPr>
          <p:cNvSpPr txBox="1"/>
          <p:nvPr/>
        </p:nvSpPr>
        <p:spPr bwMode="gray">
          <a:xfrm>
            <a:off x="7417327" y="3390893"/>
            <a:ext cx="3290888" cy="231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C Avant Garde Pro Md" panose="020B0602020202020204" pitchFamily="34" charset="0"/>
              </a:rPr>
              <a:t>Online sales by product class, in million tenge</a:t>
            </a:r>
          </a:p>
        </p:txBody>
      </p:sp>
      <p:sp>
        <p:nvSpPr>
          <p:cNvPr id="430" name="TextBox 429">
            <a:extLst>
              <a:ext uri="{FF2B5EF4-FFF2-40B4-BE49-F238E27FC236}">
                <a16:creationId xmlns:a16="http://schemas.microsoft.com/office/drawing/2014/main" id="{DA0D1A8F-BA75-489A-AA38-955CD95AB393}"/>
              </a:ext>
            </a:extLst>
          </p:cNvPr>
          <p:cNvSpPr txBox="1"/>
          <p:nvPr/>
        </p:nvSpPr>
        <p:spPr bwMode="gray">
          <a:xfrm>
            <a:off x="688185" y="3383596"/>
            <a:ext cx="5455441" cy="3242629"/>
          </a:xfrm>
          <a:prstGeom prst="rect">
            <a:avLst/>
          </a:prstGeom>
          <a:ln>
            <a:solidFill>
              <a:schemeClr val="bg2">
                <a:lumMod val="50000"/>
              </a:schemeClr>
            </a:solidFill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37" name="TextBox 436">
            <a:extLst>
              <a:ext uri="{FF2B5EF4-FFF2-40B4-BE49-F238E27FC236}">
                <a16:creationId xmlns:a16="http://schemas.microsoft.com/office/drawing/2014/main" id="{78C02CCC-572E-4A27-8EE1-4963978CD2E6}"/>
              </a:ext>
            </a:extLst>
          </p:cNvPr>
          <p:cNvSpPr txBox="1"/>
          <p:nvPr/>
        </p:nvSpPr>
        <p:spPr bwMode="gray">
          <a:xfrm>
            <a:off x="6248879" y="3383596"/>
            <a:ext cx="5455441" cy="3242629"/>
          </a:xfrm>
          <a:prstGeom prst="rect">
            <a:avLst/>
          </a:prstGeom>
          <a:ln>
            <a:solidFill>
              <a:schemeClr val="bg2">
                <a:lumMod val="50000"/>
              </a:schemeClr>
            </a:solidFill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121" name="Chart 120">
            <a:extLst>
              <a:ext uri="{FF2B5EF4-FFF2-40B4-BE49-F238E27FC236}">
                <a16:creationId xmlns:a16="http://schemas.microsoft.com/office/drawing/2014/main" id="{819A9675-0781-493A-907C-709EBB1DCD92}"/>
              </a:ext>
            </a:extLst>
          </p:cNvPr>
          <p:cNvGraphicFramePr/>
          <p:nvPr>
            <p:custDataLst>
              <p:tags r:id="rId80"/>
            </p:custDataLst>
            <p:extLst>
              <p:ext uri="{D42A27DB-BD31-4B8C-83A1-F6EECF244321}">
                <p14:modId xmlns:p14="http://schemas.microsoft.com/office/powerpoint/2010/main" val="4147803836"/>
              </p:ext>
            </p:extLst>
          </p:nvPr>
        </p:nvGraphicFramePr>
        <p:xfrm>
          <a:off x="2352675" y="1657350"/>
          <a:ext cx="1982788" cy="15478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0"/>
          </a:graphicData>
        </a:graphic>
      </p:graphicFrame>
      <p:sp>
        <p:nvSpPr>
          <p:cNvPr id="107" name="Text Placeholder 2">
            <a:extLst>
              <a:ext uri="{FF2B5EF4-FFF2-40B4-BE49-F238E27FC236}">
                <a16:creationId xmlns:a16="http://schemas.microsoft.com/office/drawing/2014/main" id="{BA2E3E39-CBD3-4F33-81B8-4D94C630C809}"/>
              </a:ext>
            </a:extLst>
          </p:cNvPr>
          <p:cNvSpPr>
            <a:spLocks noGrp="1"/>
          </p:cNvSpPr>
          <p:nvPr>
            <p:custDataLst>
              <p:tags r:id="rId81"/>
            </p:custDataLst>
          </p:nvPr>
        </p:nvSpPr>
        <p:spPr bwMode="gray">
          <a:xfrm>
            <a:off x="2873375" y="1925638"/>
            <a:ext cx="184150" cy="123825"/>
          </a:xfrm>
          <a:prstGeom prst="rect">
            <a:avLst/>
          </a:prstGeom>
          <a:solidFill>
            <a:srgbClr val="969696"/>
          </a:solidFill>
          <a:ln>
            <a:noFill/>
          </a:ln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B5FF58E-4652-4CDA-A2E9-A5B3364446AD}" type="datetime'''''''''''''''5''''''''''''''''''''''%'''''''''">
              <a:rPr lang="en-US" altLang="en-US" sz="900" smtClean="0">
                <a:solidFill>
                  <a:srgbClr val="FFFFFF"/>
                </a:solidFill>
                <a:effectLst/>
                <a:latin typeface="ITC Avant Garde Pro Bk" panose="020B0502020202020204" pitchFamily="34" charset="0"/>
              </a:rPr>
              <a:pPr/>
              <a:t>5%</a:t>
            </a:fld>
            <a:endParaRPr lang="en-US" sz="900" dirty="0">
              <a:solidFill>
                <a:srgbClr val="FFFFFF"/>
              </a:solidFill>
              <a:latin typeface="ITC Avant Garde Pro Bk" panose="020B0502020202020204" pitchFamily="34" charset="0"/>
              <a:sym typeface="ITC Avant Garde Pro Bk" panose="020B0502020202020204" pitchFamily="34" charset="0"/>
            </a:endParaRPr>
          </a:p>
        </p:txBody>
      </p:sp>
      <p:graphicFrame>
        <p:nvGraphicFramePr>
          <p:cNvPr id="122" name="Chart 121">
            <a:extLst>
              <a:ext uri="{FF2B5EF4-FFF2-40B4-BE49-F238E27FC236}">
                <a16:creationId xmlns:a16="http://schemas.microsoft.com/office/drawing/2014/main" id="{626277BD-EE5D-4903-ADE5-50BD115B994F}"/>
              </a:ext>
            </a:extLst>
          </p:cNvPr>
          <p:cNvGraphicFramePr/>
          <p:nvPr>
            <p:custDataLst>
              <p:tags r:id="rId82"/>
            </p:custDataLst>
            <p:extLst>
              <p:ext uri="{D42A27DB-BD31-4B8C-83A1-F6EECF244321}">
                <p14:modId xmlns:p14="http://schemas.microsoft.com/office/powerpoint/2010/main" val="1971054662"/>
              </p:ext>
            </p:extLst>
          </p:nvPr>
        </p:nvGraphicFramePr>
        <p:xfrm>
          <a:off x="7875588" y="1657350"/>
          <a:ext cx="2093912" cy="15478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1"/>
          </a:graphicData>
        </a:graphic>
      </p:graphicFrame>
      <p:sp>
        <p:nvSpPr>
          <p:cNvPr id="109" name="Text Placeholder 2">
            <a:extLst>
              <a:ext uri="{FF2B5EF4-FFF2-40B4-BE49-F238E27FC236}">
                <a16:creationId xmlns:a16="http://schemas.microsoft.com/office/drawing/2014/main" id="{D1D72295-B49C-4A7F-A30D-89D82EAB755C}"/>
              </a:ext>
            </a:extLst>
          </p:cNvPr>
          <p:cNvSpPr>
            <a:spLocks noGrp="1"/>
          </p:cNvSpPr>
          <p:nvPr>
            <p:custDataLst>
              <p:tags r:id="rId83"/>
            </p:custDataLst>
          </p:nvPr>
        </p:nvSpPr>
        <p:spPr bwMode="gray">
          <a:xfrm>
            <a:off x="8648700" y="1800225"/>
            <a:ext cx="203200" cy="136525"/>
          </a:xfrm>
          <a:prstGeom prst="rect">
            <a:avLst/>
          </a:prstGeom>
          <a:solidFill>
            <a:srgbClr val="969696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EC15F74-0CFE-4AC5-80E5-480EA3BFF4DA}" type="datetime'''''''2''%'''''''''''''''''''''''''''''''''''''''">
              <a:rPr lang="en-US" altLang="en-US" sz="1000" smtClean="0">
                <a:effectLst/>
                <a:latin typeface="ITC Avant Garde Pro Bk" panose="020B0502020202020204" pitchFamily="34" charset="0"/>
                <a:ea typeface="Verdana" panose="020B0604030504040204" pitchFamily="34" charset="0"/>
              </a:rPr>
              <a:pPr/>
              <a:t>2%</a:t>
            </a:fld>
            <a:endParaRPr lang="en-US" sz="1000" dirty="0">
              <a:latin typeface="ITC Avant Garde Pro Bk" panose="020B0502020202020204" pitchFamily="34" charset="0"/>
              <a:ea typeface="Verdana" panose="020B0604030504040204" pitchFamily="34" charset="0"/>
              <a:sym typeface="ITC Avant Garde Pro Bk" panose="020B0502020202020204" pitchFamily="34" charset="0"/>
            </a:endParaRPr>
          </a:p>
        </p:txBody>
      </p:sp>
      <p:sp>
        <p:nvSpPr>
          <p:cNvPr id="110" name="Text Placeholder 2">
            <a:extLst>
              <a:ext uri="{FF2B5EF4-FFF2-40B4-BE49-F238E27FC236}">
                <a16:creationId xmlns:a16="http://schemas.microsoft.com/office/drawing/2014/main" id="{4E1B332E-B80D-4187-832B-11C29B7E5EA2}"/>
              </a:ext>
            </a:extLst>
          </p:cNvPr>
          <p:cNvSpPr>
            <a:spLocks noGrp="1"/>
          </p:cNvSpPr>
          <p:nvPr>
            <p:custDataLst>
              <p:tags r:id="rId84"/>
            </p:custDataLst>
          </p:nvPr>
        </p:nvSpPr>
        <p:spPr bwMode="gray">
          <a:xfrm>
            <a:off x="8767763" y="1936750"/>
            <a:ext cx="203200" cy="136525"/>
          </a:xfrm>
          <a:prstGeom prst="rect">
            <a:avLst/>
          </a:prstGeom>
          <a:solidFill>
            <a:srgbClr val="C0C0C0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48AF399-DADF-405B-AF1E-C399522B5143}" type="datetime'4%'''''''''''''''''''''''''''''''''''''">
              <a:rPr lang="en-US" altLang="en-US" sz="1000" smtClean="0">
                <a:effectLst/>
                <a:latin typeface="ITC Avant Garde Pro Bk" panose="020B0502020202020204" pitchFamily="34" charset="0"/>
                <a:ea typeface="Verdana" panose="020B0604030504040204" pitchFamily="34" charset="0"/>
              </a:rPr>
              <a:pPr/>
              <a:t>4%</a:t>
            </a:fld>
            <a:endParaRPr lang="en-US" sz="1000" dirty="0">
              <a:latin typeface="ITC Avant Garde Pro Bk" panose="020B0502020202020204" pitchFamily="34" charset="0"/>
              <a:ea typeface="Verdana" panose="020B0604030504040204" pitchFamily="34" charset="0"/>
              <a:sym typeface="ITC Avant Garde Pro Bk" panose="020B0502020202020204" pitchFamily="34" charset="0"/>
            </a:endParaRP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1DD41D8A-E869-4809-8EB8-578AA350015F}"/>
              </a:ext>
            </a:extLst>
          </p:cNvPr>
          <p:cNvSpPr txBox="1"/>
          <p:nvPr/>
        </p:nvSpPr>
        <p:spPr bwMode="gray">
          <a:xfrm>
            <a:off x="2160588" y="1457325"/>
            <a:ext cx="2366963" cy="2301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C Avant Garde Pro Md" panose="020B0602020202020204" pitchFamily="34" charset="0"/>
              </a:rPr>
              <a:t>Offline sales by product class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FACDB762-FAA3-4600-96DF-26C14839BB31}"/>
              </a:ext>
            </a:extLst>
          </p:cNvPr>
          <p:cNvSpPr txBox="1"/>
          <p:nvPr/>
        </p:nvSpPr>
        <p:spPr bwMode="gray">
          <a:xfrm>
            <a:off x="7683500" y="1477963"/>
            <a:ext cx="2447925" cy="2301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C Avant Garde Pro Md" panose="020B0602020202020204" pitchFamily="34" charset="0"/>
              </a:rPr>
              <a:t>Online sales by product class</a:t>
            </a: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27962620-7ED2-43F2-905F-3689467309E1}"/>
              </a:ext>
            </a:extLst>
          </p:cNvPr>
          <p:cNvSpPr txBox="1"/>
          <p:nvPr/>
        </p:nvSpPr>
        <p:spPr bwMode="gray">
          <a:xfrm>
            <a:off x="688185" y="1176008"/>
            <a:ext cx="11016135" cy="2094235"/>
          </a:xfrm>
          <a:prstGeom prst="rect">
            <a:avLst/>
          </a:prstGeom>
          <a:ln>
            <a:solidFill>
              <a:schemeClr val="bg2">
                <a:lumMod val="50000"/>
              </a:schemeClr>
            </a:solidFill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5174183D-C15D-4392-9926-C90DD886D7BD}"/>
              </a:ext>
            </a:extLst>
          </p:cNvPr>
          <p:cNvSpPr/>
          <p:nvPr>
            <p:custDataLst>
              <p:tags r:id="rId85"/>
            </p:custDataLst>
          </p:nvPr>
        </p:nvSpPr>
        <p:spPr bwMode="auto">
          <a:xfrm>
            <a:off x="5224463" y="1244600"/>
            <a:ext cx="179388" cy="133350"/>
          </a:xfrm>
          <a:prstGeom prst="rect">
            <a:avLst/>
          </a:prstGeom>
          <a:solidFill>
            <a:srgbClr val="96969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1D4CE40B-2663-4921-AA4E-1B6545BC2289}"/>
              </a:ext>
            </a:extLst>
          </p:cNvPr>
          <p:cNvSpPr/>
          <p:nvPr>
            <p:custDataLst>
              <p:tags r:id="rId86"/>
            </p:custDataLst>
          </p:nvPr>
        </p:nvSpPr>
        <p:spPr bwMode="auto">
          <a:xfrm>
            <a:off x="4578350" y="1244600"/>
            <a:ext cx="179388" cy="133350"/>
          </a:xfrm>
          <a:prstGeom prst="rect">
            <a:avLst/>
          </a:prstGeom>
          <a:solidFill>
            <a:srgbClr val="B51B4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B47E48B6-D619-4F06-ADD9-A20EF076961C}"/>
              </a:ext>
            </a:extLst>
          </p:cNvPr>
          <p:cNvSpPr/>
          <p:nvPr>
            <p:custDataLst>
              <p:tags r:id="rId87"/>
            </p:custDataLst>
          </p:nvPr>
        </p:nvSpPr>
        <p:spPr bwMode="auto">
          <a:xfrm>
            <a:off x="6167438" y="1244600"/>
            <a:ext cx="179388" cy="133350"/>
          </a:xfrm>
          <a:prstGeom prst="rect">
            <a:avLst/>
          </a:prstGeom>
          <a:solidFill>
            <a:srgbClr val="C0C0C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7" name="Text Placeholder 2">
            <a:extLst>
              <a:ext uri="{FF2B5EF4-FFF2-40B4-BE49-F238E27FC236}">
                <a16:creationId xmlns:a16="http://schemas.microsoft.com/office/drawing/2014/main" id="{37AD8358-A830-4371-857A-B833CBFACC17}"/>
              </a:ext>
            </a:extLst>
          </p:cNvPr>
          <p:cNvSpPr>
            <a:spLocks noGrp="1"/>
          </p:cNvSpPr>
          <p:nvPr>
            <p:custDataLst>
              <p:tags r:id="rId88"/>
            </p:custDataLst>
          </p:nvPr>
        </p:nvSpPr>
        <p:spPr bwMode="auto">
          <a:xfrm>
            <a:off x="4808538" y="1239838"/>
            <a:ext cx="3143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4FFE3DE-4FF4-4637-A841-30B2F9B4950B}" type="datetime'''''''''''Fo''o''''d'''''''">
              <a:rPr lang="en-US" altLang="en-US" sz="1000" smtClean="0">
                <a:latin typeface="ITC Avant Garde Pro Bk" panose="020B0502020202020204" pitchFamily="34" charset="0"/>
                <a:ea typeface="Verdana" panose="020B0604030504040204" pitchFamily="34" charset="0"/>
              </a:rPr>
              <a:pPr/>
              <a:t>Food</a:t>
            </a:fld>
            <a:endParaRPr lang="en-US" sz="1000" dirty="0">
              <a:latin typeface="ITC Avant Garde Pro Bk" panose="020B0502020202020204" pitchFamily="34" charset="0"/>
              <a:ea typeface="Verdana" panose="020B0604030504040204" pitchFamily="34" charset="0"/>
              <a:sym typeface="ITC Avant Garde Pro Bk" panose="020B0502020202020204" pitchFamily="34" charset="0"/>
            </a:endParaRPr>
          </a:p>
        </p:txBody>
      </p:sp>
      <p:sp>
        <p:nvSpPr>
          <p:cNvPr id="118" name="Text Placeholder 2">
            <a:extLst>
              <a:ext uri="{FF2B5EF4-FFF2-40B4-BE49-F238E27FC236}">
                <a16:creationId xmlns:a16="http://schemas.microsoft.com/office/drawing/2014/main" id="{204C5734-A96F-4AF0-A403-FF71BF8A5AC9}"/>
              </a:ext>
            </a:extLst>
          </p:cNvPr>
          <p:cNvSpPr>
            <a:spLocks noGrp="1"/>
          </p:cNvSpPr>
          <p:nvPr>
            <p:custDataLst>
              <p:tags r:id="rId89"/>
            </p:custDataLst>
          </p:nvPr>
        </p:nvSpPr>
        <p:spPr bwMode="auto">
          <a:xfrm>
            <a:off x="5454650" y="1239838"/>
            <a:ext cx="6111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D57D28D-704D-4AE9-9A6A-7B17B8ECE152}" type="datetime'No''''''''n''''''''''''''-''''F''''oo''''''''d'''''''''">
              <a:rPr lang="en-US" altLang="en-US" sz="1000" smtClean="0">
                <a:latin typeface="ITC Avant Garde Pro Bk" panose="020B0502020202020204" pitchFamily="34" charset="0"/>
                <a:ea typeface="Verdana" panose="020B0604030504040204" pitchFamily="34" charset="0"/>
              </a:rPr>
              <a:pPr/>
              <a:t>Non-Food</a:t>
            </a:fld>
            <a:endParaRPr lang="en-US" sz="1000" dirty="0">
              <a:latin typeface="ITC Avant Garde Pro Bk" panose="020B0502020202020204" pitchFamily="34" charset="0"/>
              <a:ea typeface="Verdana" panose="020B0604030504040204" pitchFamily="34" charset="0"/>
              <a:sym typeface="ITC Avant Garde Pro Bk" panose="020B0502020202020204" pitchFamily="34" charset="0"/>
            </a:endParaRPr>
          </a:p>
        </p:txBody>
      </p:sp>
      <p:sp>
        <p:nvSpPr>
          <p:cNvPr id="119" name="Text Placeholder 2">
            <a:extLst>
              <a:ext uri="{FF2B5EF4-FFF2-40B4-BE49-F238E27FC236}">
                <a16:creationId xmlns:a16="http://schemas.microsoft.com/office/drawing/2014/main" id="{71915E82-F114-47F0-A854-3526A17199A5}"/>
              </a:ext>
            </a:extLst>
          </p:cNvPr>
          <p:cNvSpPr>
            <a:spLocks noGrp="1"/>
          </p:cNvSpPr>
          <p:nvPr>
            <p:custDataLst>
              <p:tags r:id="rId90"/>
            </p:custDataLst>
          </p:nvPr>
        </p:nvSpPr>
        <p:spPr bwMode="auto">
          <a:xfrm>
            <a:off x="6397625" y="1239838"/>
            <a:ext cx="12350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661455F-5BBC-4686-BF9C-74A212857B68}" type="datetime'I''n-Ho''us''e'' ''''''P''''rod''''''uc''''''''''''tio''''''n'">
              <a:rPr lang="en-US" altLang="en-US" sz="1000" smtClean="0">
                <a:latin typeface="ITC Avant Garde Pro Bk" panose="020B0502020202020204" pitchFamily="34" charset="0"/>
                <a:ea typeface="Verdana" panose="020B0604030504040204" pitchFamily="34" charset="0"/>
              </a:rPr>
              <a:pPr/>
              <a:t>In-House Production</a:t>
            </a:fld>
            <a:endParaRPr lang="en-US" sz="1000" dirty="0">
              <a:latin typeface="ITC Avant Garde Pro Bk" panose="020B0502020202020204" pitchFamily="34" charset="0"/>
              <a:ea typeface="Verdana" panose="020B0604030504040204" pitchFamily="34" charset="0"/>
              <a:sym typeface="ITC Avant Garde Pro Bk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912046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9FBDCD-8AFA-4187-9760-F291DAA622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2534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1" imgW="378" imgH="377" progId="TCLayout.ActiveDocument.1">
                  <p:embed/>
                </p:oleObj>
              </mc:Choice>
              <mc:Fallback>
                <p:oleObj name="think-cell Slide" r:id="rId131" imgW="378" imgH="37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9FBDCD-8AFA-4187-9760-F291DAA622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D8FAFC92-18B7-49DE-AAC3-D2B7F9C3702B}"/>
              </a:ext>
            </a:extLst>
          </p:cNvPr>
          <p:cNvSpPr txBox="1"/>
          <p:nvPr/>
        </p:nvSpPr>
        <p:spPr>
          <a:xfrm>
            <a:off x="688185" y="556502"/>
            <a:ext cx="7410786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ITC Avant Garde Pro Md" panose="020B0602020202020204" pitchFamily="34" charset="0"/>
              </a:rPr>
              <a:t>Offline vs. Online sales in Food class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3C7766D-E193-4077-80FA-33056F2BB974}"/>
              </a:ext>
            </a:extLst>
          </p:cNvPr>
          <p:cNvCxnSpPr>
            <a:cxnSpLocks/>
          </p:cNvCxnSpPr>
          <p:nvPr/>
        </p:nvCxnSpPr>
        <p:spPr>
          <a:xfrm>
            <a:off x="688185" y="1082000"/>
            <a:ext cx="1101613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EF5B9405-6830-4452-8392-22D443150C82}"/>
              </a:ext>
            </a:extLst>
          </p:cNvPr>
          <p:cNvSpPr txBox="1"/>
          <p:nvPr/>
        </p:nvSpPr>
        <p:spPr bwMode="gray">
          <a:xfrm>
            <a:off x="688185" y="1175657"/>
            <a:ext cx="11016135" cy="2481943"/>
          </a:xfrm>
          <a:prstGeom prst="rect">
            <a:avLst/>
          </a:prstGeom>
          <a:ln>
            <a:solidFill>
              <a:srgbClr val="797878"/>
            </a:solidFill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gnum offline sales in Food product class by group, (in million tenge)</a:t>
            </a:r>
          </a:p>
        </p:txBody>
      </p:sp>
      <p:graphicFrame>
        <p:nvGraphicFramePr>
          <p:cNvPr id="158" name="Chart 157">
            <a:extLst>
              <a:ext uri="{FF2B5EF4-FFF2-40B4-BE49-F238E27FC236}">
                <a16:creationId xmlns:a16="http://schemas.microsoft.com/office/drawing/2014/main" id="{7CD443D9-EFAB-4245-8FFF-A35944A07984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1249135"/>
              </p:ext>
            </p:extLst>
          </p:nvPr>
        </p:nvGraphicFramePr>
        <p:xfrm>
          <a:off x="1250950" y="4216400"/>
          <a:ext cx="10375900" cy="1485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3"/>
          </a:graphicData>
        </a:graphic>
      </p:graphicFrame>
      <p:sp>
        <p:nvSpPr>
          <p:cNvPr id="43" name="Text Placeholder 20">
            <a:extLst>
              <a:ext uri="{FF2B5EF4-FFF2-40B4-BE49-F238E27FC236}">
                <a16:creationId xmlns:a16="http://schemas.microsoft.com/office/drawing/2014/main" id="{8B4E5441-1CAB-45CA-8824-E5F57EDEB1DF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4878388" y="5254625"/>
            <a:ext cx="2032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9D4A8CA2-72BB-417F-8003-AE6F6E63879B}" type="datetime'''''6''''''''''''''''''''''''''''%'''''''''''''''''">
              <a:rPr lang="ru-RU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6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66" name="Text Placeholder 20">
            <a:extLst>
              <a:ext uri="{FF2B5EF4-FFF2-40B4-BE49-F238E27FC236}">
                <a16:creationId xmlns:a16="http://schemas.microsoft.com/office/drawing/2014/main" id="{8E2B2B33-AB12-4F68-8B3F-E8DD4656583F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0629900" y="5702300"/>
            <a:ext cx="369888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22956C25-4635-4553-B91F-29F176A4A54D}" type="datetime'Br''ead'''''' &amp;'''''''''' b''a''''''''k''''''''er''''''''''y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Bread &amp; bakery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46" name="Text Placeholder 20">
            <a:extLst>
              <a:ext uri="{FF2B5EF4-FFF2-40B4-BE49-F238E27FC236}">
                <a16:creationId xmlns:a16="http://schemas.microsoft.com/office/drawing/2014/main" id="{D13A3E73-03C0-447C-A8E2-8FB01CEE959F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5364163" y="5381625"/>
            <a:ext cx="2032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53D0DC29-FC99-4FB0-9EFC-6655905D528F}" type="datetime'''''''''''''''4''''''''''''''''''''''''''''%'''">
              <a:rPr lang="ru-RU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4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CECE8F84-84A7-442C-9311-8AE39A80871F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768725" y="5702300"/>
            <a:ext cx="476250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B43228DF-A3EC-42ED-821D-20D2E38006E3}" type="datetime'''''H''ouseho''''''ld'''' ''c''''h''''em''''i''''ca''ls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Household chemical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20" name="Text Placeholder 20">
            <a:extLst>
              <a:ext uri="{FF2B5EF4-FFF2-40B4-BE49-F238E27FC236}">
                <a16:creationId xmlns:a16="http://schemas.microsoft.com/office/drawing/2014/main" id="{7075920F-E13E-4D74-889F-D10E39CA3BBD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2416175" y="5046663"/>
            <a:ext cx="26828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51B4F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0AE175D1-F9D7-47BC-9193-797E2648F0DD}" type="datetime'''''''''''''1''''''''''''''''''''''1''''''''''%'''''''''''">
              <a:rPr lang="ru-RU" altLang="en-US" sz="800" smtClean="0">
                <a:solidFill>
                  <a:srgbClr val="FFFFFF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1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51" name="Text Placeholder 20">
            <a:extLst>
              <a:ext uri="{FF2B5EF4-FFF2-40B4-BE49-F238E27FC236}">
                <a16:creationId xmlns:a16="http://schemas.microsoft.com/office/drawing/2014/main" id="{F46F86A7-8189-4EAE-8EFE-5E4BFE2891B7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823075" y="5426075"/>
            <a:ext cx="2032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B1B82235-FDBD-4F67-AF8D-518C53D1948B}" type="datetime'''''''''''3''''''''''''''''''''''''''''''''%'''''''''">
              <a:rPr lang="ru-RU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3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626ADD4C-C38A-4F27-8BBD-C9190BD17C19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892300" y="5702300"/>
            <a:ext cx="339725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2FEAEFD3-C4AA-43AA-8799-9370848C4762}" type="datetime'Pa''n''tr''''''y'''''''' ''''St''a''''pl''''''es''''''''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Pantry Staple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65" name="Text Placeholder 20">
            <a:extLst>
              <a:ext uri="{FF2B5EF4-FFF2-40B4-BE49-F238E27FC236}">
                <a16:creationId xmlns:a16="http://schemas.microsoft.com/office/drawing/2014/main" id="{93C11011-4D3E-460C-B71B-DEF14072EAC9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443038" y="4905375"/>
            <a:ext cx="26828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51B4F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36FD492A-C42B-4CA6-AD51-D02059FC351C}" type="datetime'''''''''''1''''''''''''''''''''''''''''''4''%'''''''''''''''">
              <a:rPr lang="ru-RU" altLang="en-US" sz="800" smtClean="0">
                <a:solidFill>
                  <a:srgbClr val="FFFFFF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4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45" name="Text Placeholder 20">
            <a:extLst>
              <a:ext uri="{FF2B5EF4-FFF2-40B4-BE49-F238E27FC236}">
                <a16:creationId xmlns:a16="http://schemas.microsoft.com/office/drawing/2014/main" id="{BC71DE0C-3A8A-4B90-97AC-A19ECBB42780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838700" y="5702300"/>
            <a:ext cx="284163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80FB56C7-D524-4E0C-A8E7-35AE47A45118}" type="datetime'''''S''o''f''''''''''t ''''d''''''''''''ri''''n''k''''s''''''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Soft drink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9D03F447-5E03-41EE-8391-BEB28E971703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2282825" y="5702300"/>
            <a:ext cx="5334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E01F06B1-A697-4485-83B3-A703E19098C0}" type="datetime'''Vegeta''bl''es'', fruit''''s,'' berri''es, mus''hroo''ms''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Vegetables, fruits, berries, mushroom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57" name="Text Placeholder 20">
            <a:extLst>
              <a:ext uri="{FF2B5EF4-FFF2-40B4-BE49-F238E27FC236}">
                <a16:creationId xmlns:a16="http://schemas.microsoft.com/office/drawing/2014/main" id="{418D8C42-A49B-4305-9D67-A303F4E968BA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9255125" y="5489575"/>
            <a:ext cx="2032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7A98C928-3FC9-443B-AD59-749DDBDAF98F}" type="datetime'''''''''''''''''''''2''''''''''''''''''''''''%'''''">
              <a:rPr lang="ru-RU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2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893DF002-A916-4B35-9FBA-305D3B1FCF64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377950" y="5702300"/>
            <a:ext cx="396875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593B7A97-6FD5-4417-A29E-CA5F80C39863}" type="datetime'D''''ai''r''''''''''y'' P''''ro''''''''d''''''''u''''ct''s''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Dairy Product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F20E393E-4319-48A7-B2E9-DD6ED2756228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928813" y="4995863"/>
            <a:ext cx="26828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51B4F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1C715BC6-E20D-49AA-AC97-9282ACC906CF}" type="datetime'''''''''''''''''''''''''''''''''''1''''2''''''''%'">
              <a:rPr lang="ru-RU" altLang="en-US" sz="800" smtClean="0">
                <a:solidFill>
                  <a:srgbClr val="FFFFFF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2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49" name="Text Placeholder 20">
            <a:extLst>
              <a:ext uri="{FF2B5EF4-FFF2-40B4-BE49-F238E27FC236}">
                <a16:creationId xmlns:a16="http://schemas.microsoft.com/office/drawing/2014/main" id="{C5AB12F3-21D8-4EF8-A3B0-E76095DCCA7F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6265863" y="5702300"/>
            <a:ext cx="347663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58CD4DE9-3D16-432A-88C1-2AFD32591815}" type="datetime'Ca''nne''d ''g''o''''''''''''''''o''d''''''''''''s''''''''''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Canned good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2" name="Text Placeholder 20">
            <a:extLst>
              <a:ext uri="{FF2B5EF4-FFF2-40B4-BE49-F238E27FC236}">
                <a16:creationId xmlns:a16="http://schemas.microsoft.com/office/drawing/2014/main" id="{128FF80C-8B99-4AAB-8902-0FC9224310B9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2824163" y="5702300"/>
            <a:ext cx="422275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B0BB6A38-44B1-461E-8D8E-5AA249A40BDC}" type="datetime'''''Eg''''g''''s,'''''' c''''hee''''se'', ''sa''usag''''es''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Eggs, cheese, sausage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29" name="Text Placeholder 20">
            <a:extLst>
              <a:ext uri="{FF2B5EF4-FFF2-40B4-BE49-F238E27FC236}">
                <a16:creationId xmlns:a16="http://schemas.microsoft.com/office/drawing/2014/main" id="{A0F222B4-429C-4B7C-B7E1-E5FDC38E7FD1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901950" y="5092700"/>
            <a:ext cx="26828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51B4F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54229387-AF2C-4380-A879-22DF64D74675}" type="datetime'1''0''''''''''''''%'''''''''''''''''''''''''''''''''">
              <a:rPr lang="ru-RU" altLang="en-US" sz="800" smtClean="0">
                <a:solidFill>
                  <a:srgbClr val="FFFFFF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0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55" name="Text Placeholder 20">
            <a:extLst>
              <a:ext uri="{FF2B5EF4-FFF2-40B4-BE49-F238E27FC236}">
                <a16:creationId xmlns:a16="http://schemas.microsoft.com/office/drawing/2014/main" id="{714CFE7C-2551-46A1-B7F4-2F770527FC8F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7799388" y="5260975"/>
            <a:ext cx="1968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4C798C0C-3ABE-4B7C-B879-45477857F906}" type="datetime'''''''''1''''''''''''''''''''''''''''7'''''''''''''">
              <a:rPr lang="en-US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7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61" name="Text Placeholder 20">
            <a:extLst>
              <a:ext uri="{FF2B5EF4-FFF2-40B4-BE49-F238E27FC236}">
                <a16:creationId xmlns:a16="http://schemas.microsoft.com/office/drawing/2014/main" id="{E7152DC8-A59B-4A57-A690-AEA8BE8BFB31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8281988" y="5483225"/>
            <a:ext cx="2032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38A5DAC4-E6D0-4899-93AB-E61338126B20}" type="datetime'''''2''''''''''''''''''''''%'''''''''''''''''''">
              <a:rPr lang="ru-RU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2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F60FB99D-ADCA-4235-9C07-27C0ADFB09A5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3419475" y="5164138"/>
            <a:ext cx="2032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51B4F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10985CD5-CE4E-4FD6-960B-B94F4C8AAD6B}" type="datetime'8''''''''''''''''''''%'''''''''''''''''''''''''''''''''''">
              <a:rPr lang="ru-RU" altLang="en-US" sz="800" smtClean="0">
                <a:solidFill>
                  <a:srgbClr val="FFFFFF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8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79" name="Text Placeholder 20">
            <a:extLst>
              <a:ext uri="{FF2B5EF4-FFF2-40B4-BE49-F238E27FC236}">
                <a16:creationId xmlns:a16="http://schemas.microsoft.com/office/drawing/2014/main" id="{7D7A08B7-CA26-464D-8970-B240BEDE28A6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10271125" y="5362575"/>
            <a:ext cx="1158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8247CF98-2870-4605-8592-34A48FED6FD4}" type="datetime'''''''''''''''''''''''8'''''''''''''''''''''">
              <a:rPr lang="en-US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8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41" name="Text Placeholder 20">
            <a:extLst>
              <a:ext uri="{FF2B5EF4-FFF2-40B4-BE49-F238E27FC236}">
                <a16:creationId xmlns:a16="http://schemas.microsoft.com/office/drawing/2014/main" id="{FD5CDFE1-DE9D-4F7C-A037-6F46B21565DA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4257675" y="5702300"/>
            <a:ext cx="473075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DAA5FFEF-387C-44FF-B60D-F4B1CE390747}" type="datetime'''P''a''''s''''t''''r''''y ''a''''''nd'''' ''c''a''''n''''dy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Pastry and candy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6" name="Text Placeholder 20">
            <a:extLst>
              <a:ext uri="{FF2B5EF4-FFF2-40B4-BE49-F238E27FC236}">
                <a16:creationId xmlns:a16="http://schemas.microsoft.com/office/drawing/2014/main" id="{C73AF3AD-4497-4A35-83BE-E6E7C099DFC9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3322638" y="5702300"/>
            <a:ext cx="398463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2487A4CB-78BF-4F04-A18D-CDE235404E0B}" type="datetime'''''H''y''g''''ien''''e produ''ct''''''''''''''''s''''''''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Hygiene product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7" name="Text Placeholder 20">
            <a:extLst>
              <a:ext uri="{FF2B5EF4-FFF2-40B4-BE49-F238E27FC236}">
                <a16:creationId xmlns:a16="http://schemas.microsoft.com/office/drawing/2014/main" id="{BE98537D-43C4-414C-AD2D-A14A54488CF6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3905250" y="5219700"/>
            <a:ext cx="2032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51B4F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CFAD94BF-3C5F-41AD-8A5F-B3C5A2E99C69}" type="datetime'''''''''''''''''''''''''''7''''''''''''''''%'''''''''''">
              <a:rPr lang="ru-RU" altLang="en-US" sz="800" smtClean="0">
                <a:solidFill>
                  <a:srgbClr val="FFFFFF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7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99DD579B-2764-4601-BAFB-B47A2CA66F48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4392613" y="5248275"/>
            <a:ext cx="2032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51B4F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C47CB388-ACF0-4057-8002-0991F9B17E1C}" type="datetime'''''''7''''''''''''''''''''''%'''''''''''''''''''''''">
              <a:rPr lang="ru-RU" altLang="en-US" sz="800" smtClean="0">
                <a:solidFill>
                  <a:srgbClr val="FFFFFF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7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6D11A0C4-D524-4AFA-A415-BD2A4BC8861B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5310188" y="5702300"/>
            <a:ext cx="312738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BBFC223B-E5B8-481C-A876-12D45CEB8226}" type="datetime'''T''''ea,'''''' ''co''f''''f''e''''e, ''cocoa''''''''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Tea, coffee, cocoa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7F0BC39E-0C05-44CD-9D35-AEB6C8A0B5FF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5851525" y="5383213"/>
            <a:ext cx="2032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BB0CE863-1071-48B9-8DB5-7AA53186AA85}" type="datetime'''''''''''''''''''''''''''''''4''''%'''''''''''''''">
              <a:rPr lang="ru-RU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4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47" name="Text Placeholder 20">
            <a:extLst>
              <a:ext uri="{FF2B5EF4-FFF2-40B4-BE49-F238E27FC236}">
                <a16:creationId xmlns:a16="http://schemas.microsoft.com/office/drawing/2014/main" id="{8133AB6E-56C7-4D6E-B58C-A076F664D67D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5754688" y="5702300"/>
            <a:ext cx="398463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C4E59293-02B8-49C2-B04A-C7BE1946A526}" type="datetime'''''Froz''''en pro''''''''''''''''''''duct''''''''''''''''s''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Frozen product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48" name="Text Placeholder 20">
            <a:extLst>
              <a:ext uri="{FF2B5EF4-FFF2-40B4-BE49-F238E27FC236}">
                <a16:creationId xmlns:a16="http://schemas.microsoft.com/office/drawing/2014/main" id="{67256157-E8AB-4FDE-9773-09BB96755F7A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6337300" y="5403850"/>
            <a:ext cx="2032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24D71A4A-1754-4674-A76F-D317BFAAB7D5}" type="datetime'''''''''3''''''''''''''''''''''''''''''''%'">
              <a:rPr lang="ru-RU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3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52" name="Text Placeholder 20">
            <a:extLst>
              <a:ext uri="{FF2B5EF4-FFF2-40B4-BE49-F238E27FC236}">
                <a16:creationId xmlns:a16="http://schemas.microsoft.com/office/drawing/2014/main" id="{2EEA9C4F-0B00-4613-9B5B-4828DEB34782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6694488" y="5702300"/>
            <a:ext cx="461963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38803946-B1BC-489E-A858-F2A979507A75}" type="datetime'''Ba''''''''''''''''''b''y'''''''''''' f''''''o''''''''''od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Baby food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54" name="Text Placeholder 20">
            <a:extLst>
              <a:ext uri="{FF2B5EF4-FFF2-40B4-BE49-F238E27FC236}">
                <a16:creationId xmlns:a16="http://schemas.microsoft.com/office/drawing/2014/main" id="{90BA9125-2741-4A0A-AB03-855984067FAD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7308850" y="5456238"/>
            <a:ext cx="2032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770B3DB8-2BB4-40FA-B6D6-F761D3548A70}" type="datetime'2''''''''''''''''''''%'''''''''''''''''''">
              <a:rPr lang="ru-RU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2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76" name="Text Placeholder 20">
            <a:extLst>
              <a:ext uri="{FF2B5EF4-FFF2-40B4-BE49-F238E27FC236}">
                <a16:creationId xmlns:a16="http://schemas.microsoft.com/office/drawing/2014/main" id="{05C08B22-DEA7-47FA-8C53-F4A98481CC60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7312025" y="5238750"/>
            <a:ext cx="1968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CC9A0252-0718-4961-95DB-E3975D75ED11}" type="datetime'''''''''''''''1''''''''''''''8'''''''''''''''''''''''''''''''">
              <a:rPr lang="en-US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8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58" name="Text Placeholder 20">
            <a:extLst>
              <a:ext uri="{FF2B5EF4-FFF2-40B4-BE49-F238E27FC236}">
                <a16:creationId xmlns:a16="http://schemas.microsoft.com/office/drawing/2014/main" id="{1DE99DBB-40B6-44CB-AA29-388206688B35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7162800" y="5702300"/>
            <a:ext cx="495300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F29A917B-DAFE-45FC-9FC2-298767A3997F}" type="datetime'Cos''metics'', ''p''er''''''fume,'''' pha''rma''c-''''''s''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Cosmetics, perfume, pharmac-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59" name="Text Placeholder 20">
            <a:extLst>
              <a:ext uri="{FF2B5EF4-FFF2-40B4-BE49-F238E27FC236}">
                <a16:creationId xmlns:a16="http://schemas.microsoft.com/office/drawing/2014/main" id="{C43AEC56-7E57-46F5-A7CB-F61A4C5039ED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7796213" y="5467350"/>
            <a:ext cx="2032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5E7A5DE6-89A7-4E19-A621-59DD8E868101}" type="datetime'''''''''''''''''''''''''''''''''2''''''''''''%'''''">
              <a:rPr lang="ru-RU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2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40" name="Text Placeholder 20">
            <a:extLst>
              <a:ext uri="{FF2B5EF4-FFF2-40B4-BE49-F238E27FC236}">
                <a16:creationId xmlns:a16="http://schemas.microsoft.com/office/drawing/2014/main" id="{77D319D7-597E-4210-8C8A-110674178E3E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8667750" y="5702300"/>
            <a:ext cx="403225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A5725B91-DB85-44C7-B27F-FA03BB3AD8C4}" type="datetime'B''eer'''' ''an''d l''''igh''t al''''''co''hol d''rink''s'">
              <a:rPr lang="en-US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Beer and light alcohol drink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60" name="Text Placeholder 20">
            <a:extLst>
              <a:ext uri="{FF2B5EF4-FFF2-40B4-BE49-F238E27FC236}">
                <a16:creationId xmlns:a16="http://schemas.microsoft.com/office/drawing/2014/main" id="{88DC3B08-CA50-45B0-8D35-DF94D105686B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7735888" y="5702300"/>
            <a:ext cx="323850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4C2911D1-2CB5-4D25-9C11-7528984909E5}" type="datetime'''''''S''''''tr''''o''''''''''''''n''g ''al''''c''o''h''''ol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Strong alcohol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63" name="Text Placeholder 20">
            <a:extLst>
              <a:ext uri="{FF2B5EF4-FFF2-40B4-BE49-F238E27FC236}">
                <a16:creationId xmlns:a16="http://schemas.microsoft.com/office/drawing/2014/main" id="{7F64D681-17C9-484F-A5E8-3FD5DD507551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8267700" y="5702300"/>
            <a:ext cx="231775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BD545882-45A3-49E6-8156-BCEF7B0A2BF1}" type="datetime'''''''''''''''''''''''''''W''''''''''i''''''n''''''e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Wine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81" name="Text Placeholder 20">
            <a:extLst>
              <a:ext uri="{FF2B5EF4-FFF2-40B4-BE49-F238E27FC236}">
                <a16:creationId xmlns:a16="http://schemas.microsoft.com/office/drawing/2014/main" id="{70BC260D-A6EC-4C37-9079-EE5635D9A01F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4395788" y="4824413"/>
            <a:ext cx="1968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0208106A-9660-48CF-A2CD-E6311CC148FE}" type="datetime'''''''''''''''''''''''5''''3'''''">
              <a:rPr lang="en-US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53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0" name="Text Placeholder 20">
            <a:extLst>
              <a:ext uri="{FF2B5EF4-FFF2-40B4-BE49-F238E27FC236}">
                <a16:creationId xmlns:a16="http://schemas.microsoft.com/office/drawing/2014/main" id="{169D1346-C9E7-4D2D-B4D6-36DBE17D2962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10712450" y="5535613"/>
            <a:ext cx="203200" cy="109538"/>
          </a:xfrm>
          <a:prstGeom prst="rect">
            <a:avLst/>
          </a:prstGeom>
          <a:solidFill>
            <a:srgbClr val="969696"/>
          </a:solidFill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E30BE175-E7ED-43C7-AB7D-807E02BEB189}" type="datetime'''''''''''''1''''''''''''''''''''''''''''''''''''''''%'''''''">
              <a:rPr lang="ru-RU" altLang="en-US" sz="800" smtClean="0">
                <a:solidFill>
                  <a:srgbClr val="000000"/>
                </a:solidFill>
                <a:effectLst/>
              </a:rPr>
              <a:pPr/>
              <a:t>1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+mn-cs"/>
            </a:endParaRPr>
          </a:p>
        </p:txBody>
      </p:sp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E16E75E1-4430-427C-9EB5-E13B1D51B75B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8767763" y="5486400"/>
            <a:ext cx="2032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E0A71D8A-999C-466E-8D11-B4D6212177EA}" type="datetime'''''''''''''''2''''''''''''''''''''''''''''''''''''%'''''''">
              <a:rPr lang="ru-RU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2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62" name="Text Placeholder 20">
            <a:extLst>
              <a:ext uri="{FF2B5EF4-FFF2-40B4-BE49-F238E27FC236}">
                <a16:creationId xmlns:a16="http://schemas.microsoft.com/office/drawing/2014/main" id="{6A116438-FDBD-4362-8003-27E6149F59FD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11139488" y="5702300"/>
            <a:ext cx="323850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63AE932B-3E69-4955-8E90-65D86C518251}" type="datetime'''El''''''''it''e'' ''''''al''''c''o''''h''''''o''''''l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Elite alcohol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64" name="Text Placeholder 20">
            <a:extLst>
              <a:ext uri="{FF2B5EF4-FFF2-40B4-BE49-F238E27FC236}">
                <a16:creationId xmlns:a16="http://schemas.microsoft.com/office/drawing/2014/main" id="{F1DE9CDA-3A94-4587-A6B5-81D1B0970544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9604375" y="5702300"/>
            <a:ext cx="476250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201D1FB5-977F-44F7-A752-97CA43D9A595}" type="datetime'''H''o''''us''e''''h''o''''l''d'''' ''''''''''''''g''oods''''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Household good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50" name="Text Placeholder 20">
            <a:extLst>
              <a:ext uri="{FF2B5EF4-FFF2-40B4-BE49-F238E27FC236}">
                <a16:creationId xmlns:a16="http://schemas.microsoft.com/office/drawing/2014/main" id="{68393D84-B792-47E7-A53B-B8DF1B76967E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9178925" y="5702300"/>
            <a:ext cx="357188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725951F1-D180-42A7-9806-0B700EB75564}" type="datetime'''G''o''od''''''s fo''''''''r'''' ''''''p''''''e''''t''s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Goods for pet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80" name="Text Placeholder 20">
            <a:extLst>
              <a:ext uri="{FF2B5EF4-FFF2-40B4-BE49-F238E27FC236}">
                <a16:creationId xmlns:a16="http://schemas.microsoft.com/office/drawing/2014/main" id="{4FAE3B6E-2D42-4F39-8DF9-C9694B0544CC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10756900" y="5399088"/>
            <a:ext cx="1158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BC690168-F1B4-4ACF-8ECB-AFC5F778186F}" type="datetime'''''''''''5'''''''''''">
              <a:rPr lang="en-US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5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78" name="Text Placeholder 20">
            <a:extLst>
              <a:ext uri="{FF2B5EF4-FFF2-40B4-BE49-F238E27FC236}">
                <a16:creationId xmlns:a16="http://schemas.microsoft.com/office/drawing/2014/main" id="{5D222E09-F549-48E6-9829-D07234D4BDE9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8770938" y="5300663"/>
            <a:ext cx="1968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82933E75-2C46-4AE5-B48B-03AEF64033E7}" type="datetime'''''''''1''''''''''''''''''''''''''''''''''''''''''''3'">
              <a:rPr lang="en-US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3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5" name="Text Placeholder 20">
            <a:extLst>
              <a:ext uri="{FF2B5EF4-FFF2-40B4-BE49-F238E27FC236}">
                <a16:creationId xmlns:a16="http://schemas.microsoft.com/office/drawing/2014/main" id="{B85F8F72-C2C1-459E-B6B0-7F67393F5EE6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3422650" y="4654550"/>
            <a:ext cx="1968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B77CD620-9A43-48F0-9936-F57FBBCBFE74}" type="datetime'''''''''6''''''''''''''''7'''''''''">
              <a:rPr lang="en-US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67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9" name="Text Placeholder 20">
            <a:extLst>
              <a:ext uri="{FF2B5EF4-FFF2-40B4-BE49-F238E27FC236}">
                <a16:creationId xmlns:a16="http://schemas.microsoft.com/office/drawing/2014/main" id="{8F307DE9-F7E5-46F1-9406-920937106AA5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9740900" y="5507038"/>
            <a:ext cx="2032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ED420195-248B-44AF-8B55-EB56CD01B980}" type="datetime'1''''''''''''''''''''''''''''''''%'''''''''''">
              <a:rPr lang="ru-RU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73" name="Text Placeholder 20">
            <a:extLst>
              <a:ext uri="{FF2B5EF4-FFF2-40B4-BE49-F238E27FC236}">
                <a16:creationId xmlns:a16="http://schemas.microsoft.com/office/drawing/2014/main" id="{E2C366AE-5DFD-4EF3-B30B-16A7BAF15347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10226675" y="5518150"/>
            <a:ext cx="2032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A2A4020A-91E9-4C73-914B-FB33DBD6B652}" type="datetime'''''''''''1''''''''%'''''''''''''''">
              <a:rPr lang="ru-RU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53" name="Text Placeholder 20">
            <a:extLst>
              <a:ext uri="{FF2B5EF4-FFF2-40B4-BE49-F238E27FC236}">
                <a16:creationId xmlns:a16="http://schemas.microsoft.com/office/drawing/2014/main" id="{F67B669F-04C0-463F-9AD1-33A85AE59C29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10129838" y="5702300"/>
            <a:ext cx="398463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A06943B4-1B34-4E28-9B84-C4A66FC584D7}" type="datetime'''T''o''''''bacc''''o ''''''''''pr''''o''d''''''''''''uct''s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Tobacco product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67" name="Text Placeholder 20">
            <a:extLst>
              <a:ext uri="{FF2B5EF4-FFF2-40B4-BE49-F238E27FC236}">
                <a16:creationId xmlns:a16="http://schemas.microsoft.com/office/drawing/2014/main" id="{0A1E8490-7584-4BDF-A2AF-2E27A1DB2BFB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11199813" y="5562600"/>
            <a:ext cx="203200" cy="109538"/>
          </a:xfrm>
          <a:prstGeom prst="rect">
            <a:avLst/>
          </a:prstGeom>
          <a:solidFill>
            <a:srgbClr val="969696"/>
          </a:solidFill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F7F76470-80FD-4060-8810-F9ECB9A557DF}" type="datetime'''''''''''''''''''''''''''''''0''''''''''''''''''%'''''''''''">
              <a:rPr lang="ru-RU" altLang="en-US" sz="800" smtClean="0">
                <a:solidFill>
                  <a:srgbClr val="000000"/>
                </a:solidFill>
                <a:effectLst/>
              </a:rPr>
              <a:pPr/>
              <a:t>0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+mn-cs"/>
            </a:endParaRPr>
          </a:p>
        </p:txBody>
      </p:sp>
      <p:sp>
        <p:nvSpPr>
          <p:cNvPr id="68" name="Text Placeholder 20">
            <a:extLst>
              <a:ext uri="{FF2B5EF4-FFF2-40B4-BE49-F238E27FC236}">
                <a16:creationId xmlns:a16="http://schemas.microsoft.com/office/drawing/2014/main" id="{00BF8B5F-8E0C-4230-8360-A9CA73A50810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1438275" y="4137025"/>
            <a:ext cx="2778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F2FFD9FF-B1AD-46DA-A8DF-914DC5D9ADD6}" type="datetime'''''''1''''1''''''''''''''''''''''''''''''''''1'''''''''''''''">
              <a:rPr lang="en-US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11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70" name="Text Placeholder 20">
            <a:extLst>
              <a:ext uri="{FF2B5EF4-FFF2-40B4-BE49-F238E27FC236}">
                <a16:creationId xmlns:a16="http://schemas.microsoft.com/office/drawing/2014/main" id="{74EA7A5E-EE2F-4D3B-ACC3-33B4C798E082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1963738" y="4319588"/>
            <a:ext cx="1968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F6EB9E4A-B533-4F34-9D40-BE351618F3FA}" type="datetime'''''''''9''''5'''''''''''''''''''''''''''''''''''''''''''">
              <a:rPr lang="en-US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95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3" name="Text Placeholder 20">
            <a:extLst>
              <a:ext uri="{FF2B5EF4-FFF2-40B4-BE49-F238E27FC236}">
                <a16:creationId xmlns:a16="http://schemas.microsoft.com/office/drawing/2014/main" id="{5C75B300-3EBD-4E51-BB8D-CCFA4DC528CA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2451100" y="4419600"/>
            <a:ext cx="1968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3A1B7B2E-DAFF-4167-A79F-C40F48B78094}" type="datetime'8''''''''''''''''''''''''''''''7'''''''''''''">
              <a:rPr lang="en-US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87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71" name="Text Placeholder 20">
            <a:extLst>
              <a:ext uri="{FF2B5EF4-FFF2-40B4-BE49-F238E27FC236}">
                <a16:creationId xmlns:a16="http://schemas.microsoft.com/office/drawing/2014/main" id="{2ED6F378-4251-4C1D-AFEB-3F2B5530F3A2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2936875" y="4511675"/>
            <a:ext cx="1968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1E6AF7AF-E939-40DF-8691-4E0F965F77FD}" type="datetime'''''''''7''''''''''''''''9'''''''">
              <a:rPr lang="en-US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79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74" name="Text Placeholder 20">
            <a:extLst>
              <a:ext uri="{FF2B5EF4-FFF2-40B4-BE49-F238E27FC236}">
                <a16:creationId xmlns:a16="http://schemas.microsoft.com/office/drawing/2014/main" id="{318C24AA-B93A-4FC2-B031-3F3D633EBCFA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6340475" y="5133975"/>
            <a:ext cx="1968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16E60A8C-824A-47E5-B665-CD7A9F58F7C2}" type="datetime'''''''''''''''''''''''''''2''''''''''''''7'''''''''''''''''">
              <a:rPr lang="en-US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27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72" name="Text Placeholder 20">
            <a:extLst>
              <a:ext uri="{FF2B5EF4-FFF2-40B4-BE49-F238E27FC236}">
                <a16:creationId xmlns:a16="http://schemas.microsoft.com/office/drawing/2014/main" id="{34ADBDE9-2A67-40A3-8CB6-B30E122928C7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3908425" y="4767263"/>
            <a:ext cx="1968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176D0A40-D38B-4E39-9DE2-EF8374BBCAE3}" type="datetime'5''''''8'''''''''''''''''''''''''''''''''''''''''''''">
              <a:rPr lang="en-US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58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56" name="Text Placeholder 20">
            <a:extLst>
              <a:ext uri="{FF2B5EF4-FFF2-40B4-BE49-F238E27FC236}">
                <a16:creationId xmlns:a16="http://schemas.microsoft.com/office/drawing/2014/main" id="{107089AF-76F8-4812-960E-23F7D5A3A5EB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4881563" y="4837113"/>
            <a:ext cx="1968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CDE9AC87-E831-4E7A-9578-CB11EBFB1A78}" type="datetime'''''''''''''''''''''''''''''''''5''''''''''''''''2'''">
              <a:rPr lang="en-US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52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75" name="Text Placeholder 20">
            <a:extLst>
              <a:ext uri="{FF2B5EF4-FFF2-40B4-BE49-F238E27FC236}">
                <a16:creationId xmlns:a16="http://schemas.microsoft.com/office/drawing/2014/main" id="{088EDC88-7BB5-4CE3-98C8-1D478DECD5B0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5367338" y="5091113"/>
            <a:ext cx="1968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3747BAF1-5B77-46A4-9DF9-4FA337DA706E}" type="datetime'''''''''3''''''''''''''''''''''''''''''''''''1'''''">
              <a:rPr lang="en-US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31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69" name="Text Placeholder 20">
            <a:extLst>
              <a:ext uri="{FF2B5EF4-FFF2-40B4-BE49-F238E27FC236}">
                <a16:creationId xmlns:a16="http://schemas.microsoft.com/office/drawing/2014/main" id="{C4067E5B-780F-4F59-BC91-D7636A95FA3A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5854700" y="5094288"/>
            <a:ext cx="1968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F17968D0-59F6-4A87-8C8D-9B17837B6225}" type="datetime'''''''''''3''''''''''''''''''0'''''''''''''">
              <a:rPr lang="en-US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30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8" name="Text Placeholder 20">
            <a:extLst>
              <a:ext uri="{FF2B5EF4-FFF2-40B4-BE49-F238E27FC236}">
                <a16:creationId xmlns:a16="http://schemas.microsoft.com/office/drawing/2014/main" id="{3C2A749E-A5C7-4BFB-9C2B-050E4ABBC6F7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6826250" y="5180013"/>
            <a:ext cx="1968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F23247C5-2FB5-4D1F-A1A2-16EFB1EE95B8}" type="datetime'''''''''''2''''''''''''3'''''''''">
              <a:rPr lang="en-US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23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77" name="Text Placeholder 20">
            <a:extLst>
              <a:ext uri="{FF2B5EF4-FFF2-40B4-BE49-F238E27FC236}">
                <a16:creationId xmlns:a16="http://schemas.microsoft.com/office/drawing/2014/main" id="{5E69E2E7-2382-45AF-B92B-80C3580BD33F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gray">
          <a:xfrm>
            <a:off x="8285163" y="5294313"/>
            <a:ext cx="1968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DF7CB556-94AF-4190-9A2D-50FB14E6B9F4}" type="datetime'''''''''''''''''1''''''''''''''''''''4'''''''''''''''''''">
              <a:rPr lang="en-US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4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44" name="Text Placeholder 20">
            <a:extLst>
              <a:ext uri="{FF2B5EF4-FFF2-40B4-BE49-F238E27FC236}">
                <a16:creationId xmlns:a16="http://schemas.microsoft.com/office/drawing/2014/main" id="{E6CD5752-8FD5-43C4-98A1-5E2DC8E7F1FE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gray">
          <a:xfrm>
            <a:off x="9258300" y="5307013"/>
            <a:ext cx="1968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29948D2B-A48F-4460-B1CC-D4FB28F3B1AB}" type="datetime'''''''''''''''''1''''''3'">
              <a:rPr lang="en-US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3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3011EEE5-3DE4-46E4-9E57-DF92FE3A399C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9744075" y="5341938"/>
            <a:ext cx="1968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28E7E23F-A864-4771-AE62-81F866F8C907}" type="datetime'''''''''''''1''''''''''0'''">
              <a:rPr lang="en-US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0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42" name="Text Placeholder 20">
            <a:extLst>
              <a:ext uri="{FF2B5EF4-FFF2-40B4-BE49-F238E27FC236}">
                <a16:creationId xmlns:a16="http://schemas.microsoft.com/office/drawing/2014/main" id="{B2C2CA77-330D-41CA-9206-6561308E5355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gray">
          <a:xfrm>
            <a:off x="11244263" y="5426075"/>
            <a:ext cx="1158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F693C1F0-2FF3-4C7C-AD51-7843FBD747CB}" type="datetime'''''''''''''''''''''''''''''''''''''''''''''''0'''''''">
              <a:rPr lang="en-US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0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0FCD6864-E32C-4FAE-A544-5E9951F7B426}"/>
              </a:ext>
            </a:extLst>
          </p:cNvPr>
          <p:cNvSpPr txBox="1"/>
          <p:nvPr/>
        </p:nvSpPr>
        <p:spPr bwMode="gray">
          <a:xfrm>
            <a:off x="688183" y="3727450"/>
            <a:ext cx="11016135" cy="2543493"/>
          </a:xfrm>
          <a:prstGeom prst="rect">
            <a:avLst/>
          </a:prstGeom>
          <a:ln>
            <a:solidFill>
              <a:srgbClr val="797878"/>
            </a:solidFill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gnum online sales in Food product class by group, (in million tenge)</a:t>
            </a:r>
          </a:p>
        </p:txBody>
      </p:sp>
      <p:graphicFrame>
        <p:nvGraphicFramePr>
          <p:cNvPr id="162" name="Chart 161">
            <a:extLst>
              <a:ext uri="{FF2B5EF4-FFF2-40B4-BE49-F238E27FC236}">
                <a16:creationId xmlns:a16="http://schemas.microsoft.com/office/drawing/2014/main" id="{25EC4DCB-F0D0-4104-8514-D4D45604EE68}"/>
              </a:ext>
            </a:extLst>
          </p:cNvPr>
          <p:cNvGraphicFramePr/>
          <p:nvPr>
            <p:custDataLst>
              <p:tags r:id="rId66"/>
            </p:custDataLst>
            <p:extLst>
              <p:ext uri="{D42A27DB-BD31-4B8C-83A1-F6EECF244321}">
                <p14:modId xmlns:p14="http://schemas.microsoft.com/office/powerpoint/2010/main" val="1065629442"/>
              </p:ext>
            </p:extLst>
          </p:nvPr>
        </p:nvGraphicFramePr>
        <p:xfrm>
          <a:off x="1250950" y="1697038"/>
          <a:ext cx="10375900" cy="1485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4"/>
          </a:graphicData>
        </a:graphic>
      </p:graphicFrame>
      <p:sp>
        <p:nvSpPr>
          <p:cNvPr id="134" name="Text Placeholder 20">
            <a:extLst>
              <a:ext uri="{FF2B5EF4-FFF2-40B4-BE49-F238E27FC236}">
                <a16:creationId xmlns:a16="http://schemas.microsoft.com/office/drawing/2014/main" id="{90321868-F126-452C-960C-0673267754CD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gray">
          <a:xfrm>
            <a:off x="4778375" y="2428875"/>
            <a:ext cx="4032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677A84B1-A5C7-4455-B827-9DB2C83FBB7C}" type="datetime'''''3'''''' ''''9''''''''''''''''5''''''''''''''''''''''1'''">
              <a:rPr lang="en-US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3 951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27" name="Text Placeholder 20">
            <a:extLst>
              <a:ext uri="{FF2B5EF4-FFF2-40B4-BE49-F238E27FC236}">
                <a16:creationId xmlns:a16="http://schemas.microsoft.com/office/drawing/2014/main" id="{A68ABB8A-3416-4CE5-900E-ADA7A33F12D7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gray">
          <a:xfrm>
            <a:off x="8281988" y="2930525"/>
            <a:ext cx="2032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7DF70627-FCE2-488F-8113-661A430380AD}" type="datetime'''''2''''''''''''''''''''''''''%'''''''''''''''''''">
              <a:rPr lang="ru-RU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2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94" name="Text Placeholder 20">
            <a:extLst>
              <a:ext uri="{FF2B5EF4-FFF2-40B4-BE49-F238E27FC236}">
                <a16:creationId xmlns:a16="http://schemas.microsoft.com/office/drawing/2014/main" id="{2A2F9ECB-0ACF-4202-9A05-970F53650765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7237413" y="3179763"/>
            <a:ext cx="347663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C35DFE86-C061-47BC-85DB-C5D569FB88CB}" type="datetime'''''''''C''a''''nn''e''''d'''' ''''g''''''''oo''''d''''s''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Canned good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07" name="Text Placeholder 20">
            <a:extLst>
              <a:ext uri="{FF2B5EF4-FFF2-40B4-BE49-F238E27FC236}">
                <a16:creationId xmlns:a16="http://schemas.microsoft.com/office/drawing/2014/main" id="{E3C1C51D-288E-4961-85F2-6E415B80F38D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3808413" y="3179763"/>
            <a:ext cx="398463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66B644CE-776A-43BB-B7E9-09F5A1F92F1A}" type="datetime'H''''''y''g''''''''i''''''e''ne'''' ''pr''''''''oduc''ts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Hygiene product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13" name="Text Placeholder 20">
            <a:extLst>
              <a:ext uri="{FF2B5EF4-FFF2-40B4-BE49-F238E27FC236}">
                <a16:creationId xmlns:a16="http://schemas.microsoft.com/office/drawing/2014/main" id="{F58B9858-CC03-4588-8C82-E713E264D368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gray">
          <a:xfrm>
            <a:off x="10712450" y="2986088"/>
            <a:ext cx="2032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523FE2D4-0D73-41E1-B9DA-CF770E240D34}" type="datetime'''1''''''''''''''''''''''''''''''''''''%'''''''''''">
              <a:rPr lang="ru-RU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19" name="Text Placeholder 20">
            <a:extLst>
              <a:ext uri="{FF2B5EF4-FFF2-40B4-BE49-F238E27FC236}">
                <a16:creationId xmlns:a16="http://schemas.microsoft.com/office/drawing/2014/main" id="{F16A35A8-FB02-4AD1-9C8B-CEDE9A2EFB9F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gray">
          <a:xfrm>
            <a:off x="7308850" y="2876550"/>
            <a:ext cx="2032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2F33E5E4-D840-4A7D-85C1-F5F995A62733}" type="datetime'''''''''''''''''''''''''''''3''''''''''''%'''''''''''">
              <a:rPr lang="ru-RU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3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16" name="Text Placeholder 20">
            <a:extLst>
              <a:ext uri="{FF2B5EF4-FFF2-40B4-BE49-F238E27FC236}">
                <a16:creationId xmlns:a16="http://schemas.microsoft.com/office/drawing/2014/main" id="{BD7981F9-48A7-4018-BDE3-769C9EB52CEE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gray">
          <a:xfrm>
            <a:off x="5364163" y="2838450"/>
            <a:ext cx="2032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44C2BFBE-FDE2-42B1-AF5A-CC18FBD78780}" type="datetime'''''''''''''''''''''''''''4''''''''''''%'''''''''">
              <a:rPr lang="ru-RU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4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91" name="Text Placeholder 20">
            <a:extLst>
              <a:ext uri="{FF2B5EF4-FFF2-40B4-BE49-F238E27FC236}">
                <a16:creationId xmlns:a16="http://schemas.microsoft.com/office/drawing/2014/main" id="{C8AC860B-6163-40EF-BD0A-D8021693A1CD}"/>
              </a:ext>
            </a:extLst>
          </p:cNvPr>
          <p:cNvSpPr>
            <a:spLocks noGrp="1"/>
          </p:cNvSpPr>
          <p:nvPr>
            <p:custDataLst>
              <p:tags r:id="rId74"/>
            </p:custDataLst>
          </p:nvPr>
        </p:nvSpPr>
        <p:spPr bwMode="gray">
          <a:xfrm>
            <a:off x="1443038" y="2386013"/>
            <a:ext cx="26828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51B4F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D9ADC00F-9022-43E2-A946-15C94C313A2E}" type="datetime'''''''''''''''''''''1''''''''''''''2''''''''''%'''''''''''''">
              <a:rPr lang="ru-RU" altLang="en-US" sz="800" smtClean="0">
                <a:solidFill>
                  <a:srgbClr val="FFFFFF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2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97" name="Text Placeholder 20">
            <a:extLst>
              <a:ext uri="{FF2B5EF4-FFF2-40B4-BE49-F238E27FC236}">
                <a16:creationId xmlns:a16="http://schemas.microsoft.com/office/drawing/2014/main" id="{158847F8-6B3C-41A3-A563-C164279303D5}"/>
              </a:ext>
            </a:extLst>
          </p:cNvPr>
          <p:cNvSpPr>
            <a:spLocks noGrp="1"/>
          </p:cNvSpPr>
          <p:nvPr>
            <p:custDataLst>
              <p:tags r:id="rId75"/>
            </p:custDataLst>
          </p:nvPr>
        </p:nvSpPr>
        <p:spPr bwMode="gray">
          <a:xfrm>
            <a:off x="2901950" y="2435225"/>
            <a:ext cx="26828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51B4F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5246EECD-A732-4375-88F5-7DEF7424F402}" type="datetime'''1''''1''''''''%'''''''''''">
              <a:rPr lang="ru-RU" altLang="en-US" sz="800" smtClean="0">
                <a:solidFill>
                  <a:srgbClr val="FFFFFF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1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37" name="Text Placeholder 20">
            <a:extLst>
              <a:ext uri="{FF2B5EF4-FFF2-40B4-BE49-F238E27FC236}">
                <a16:creationId xmlns:a16="http://schemas.microsoft.com/office/drawing/2014/main" id="{F8CBD6A0-5203-4B7E-9EAC-87EEDE4F1AA8}"/>
              </a:ext>
            </a:extLst>
          </p:cNvPr>
          <p:cNvSpPr>
            <a:spLocks noGrp="1"/>
          </p:cNvSpPr>
          <p:nvPr>
            <p:custDataLst>
              <p:tags r:id="rId76"/>
            </p:custDataLst>
          </p:nvPr>
        </p:nvSpPr>
        <p:spPr bwMode="gray">
          <a:xfrm>
            <a:off x="2347913" y="1687513"/>
            <a:ext cx="4032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6884AE1B-4A53-462A-B6BE-8E14764B2FE2}" type="datetime'''''9'''''''''''''''''''''''''''''''''''''''''' ''7''09'''''''">
              <a:rPr lang="en-US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9 709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95" name="Text Placeholder 20">
            <a:extLst>
              <a:ext uri="{FF2B5EF4-FFF2-40B4-BE49-F238E27FC236}">
                <a16:creationId xmlns:a16="http://schemas.microsoft.com/office/drawing/2014/main" id="{B6BDEE31-50D2-4AF9-9F61-96F896F1FD14}"/>
              </a:ext>
            </a:extLst>
          </p:cNvPr>
          <p:cNvSpPr>
            <a:spLocks noGrp="1"/>
          </p:cNvSpPr>
          <p:nvPr>
            <p:custDataLst>
              <p:tags r:id="rId77"/>
            </p:custDataLst>
          </p:nvPr>
        </p:nvSpPr>
        <p:spPr bwMode="auto">
          <a:xfrm>
            <a:off x="1339850" y="3179763"/>
            <a:ext cx="473075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1B9C671E-634A-418F-9683-C7113F4C1D4A}" type="datetime'''''''''Pas''''t''''''ry ''an''d'' ''c''''''a''''''nd''y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Pastry and candy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98" name="Text Placeholder 20">
            <a:extLst>
              <a:ext uri="{FF2B5EF4-FFF2-40B4-BE49-F238E27FC236}">
                <a16:creationId xmlns:a16="http://schemas.microsoft.com/office/drawing/2014/main" id="{A62CBDA4-8AE3-4EC1-AF77-A0540E1524B5}"/>
              </a:ext>
            </a:extLst>
          </p:cNvPr>
          <p:cNvSpPr>
            <a:spLocks noGrp="1"/>
          </p:cNvSpPr>
          <p:nvPr>
            <p:custDataLst>
              <p:tags r:id="rId78"/>
            </p:custDataLst>
          </p:nvPr>
        </p:nvSpPr>
        <p:spPr bwMode="auto">
          <a:xfrm>
            <a:off x="2379663" y="3179763"/>
            <a:ext cx="339725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08C05821-B837-474B-8EEF-69E2A2AA61A3}" type="datetime'''''P''a''nt''r''''''''''y'' St''''a''''p''''''l''e''''s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Pantry Staple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86" name="Text Placeholder 20">
            <a:extLst>
              <a:ext uri="{FF2B5EF4-FFF2-40B4-BE49-F238E27FC236}">
                <a16:creationId xmlns:a16="http://schemas.microsoft.com/office/drawing/2014/main" id="{B114D744-3EB3-44B6-AD92-12867F9AEF91}"/>
              </a:ext>
            </a:extLst>
          </p:cNvPr>
          <p:cNvSpPr>
            <a:spLocks noGrp="1"/>
          </p:cNvSpPr>
          <p:nvPr>
            <p:custDataLst>
              <p:tags r:id="rId79"/>
            </p:custDataLst>
          </p:nvPr>
        </p:nvSpPr>
        <p:spPr bwMode="auto">
          <a:xfrm>
            <a:off x="2824163" y="3179763"/>
            <a:ext cx="422275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39A4E724-60EE-44BE-85B6-64D92FDCC047}" type="datetime'''''''E''gg''''s, ch''''''ees''e'''''','''''' ''''sa''usages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Eggs, cheese, sausage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05" name="Text Placeholder 20">
            <a:extLst>
              <a:ext uri="{FF2B5EF4-FFF2-40B4-BE49-F238E27FC236}">
                <a16:creationId xmlns:a16="http://schemas.microsoft.com/office/drawing/2014/main" id="{0F54A551-FFE6-4988-99EF-95C7EA56C24B}"/>
              </a:ext>
            </a:extLst>
          </p:cNvPr>
          <p:cNvSpPr>
            <a:spLocks noGrp="1"/>
          </p:cNvSpPr>
          <p:nvPr>
            <p:custDataLst>
              <p:tags r:id="rId80"/>
            </p:custDataLst>
          </p:nvPr>
        </p:nvSpPr>
        <p:spPr bwMode="gray">
          <a:xfrm>
            <a:off x="1860550" y="1657350"/>
            <a:ext cx="4032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13F33D25-1720-4665-956D-9B6937B3251C}" type="datetime'''''''''''''''9'''''''''''''''' ''''''94''''''''''''''4'">
              <a:rPr lang="en-US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9 944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88" name="Text Placeholder 20">
            <a:extLst>
              <a:ext uri="{FF2B5EF4-FFF2-40B4-BE49-F238E27FC236}">
                <a16:creationId xmlns:a16="http://schemas.microsoft.com/office/drawing/2014/main" id="{DB27FD13-0C71-4EE4-842E-5BB3DF23E208}"/>
              </a:ext>
            </a:extLst>
          </p:cNvPr>
          <p:cNvSpPr>
            <a:spLocks noGrp="1"/>
          </p:cNvSpPr>
          <p:nvPr>
            <p:custDataLst>
              <p:tags r:id="rId81"/>
            </p:custDataLst>
          </p:nvPr>
        </p:nvSpPr>
        <p:spPr bwMode="gray">
          <a:xfrm>
            <a:off x="2416175" y="2420938"/>
            <a:ext cx="26828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51B4F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D2E01DA6-A14B-45EF-9A46-22B8CCF5F5BF}" type="datetime'1''''''''''''''''''''''''1''''''''''''''''%'''''">
              <a:rPr lang="ru-RU" altLang="en-US" sz="800" smtClean="0">
                <a:solidFill>
                  <a:srgbClr val="FFFFFF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1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02" name="Text Placeholder 20">
            <a:extLst>
              <a:ext uri="{FF2B5EF4-FFF2-40B4-BE49-F238E27FC236}">
                <a16:creationId xmlns:a16="http://schemas.microsoft.com/office/drawing/2014/main" id="{BE648D84-B7AB-4975-B619-09CC9E7326C0}"/>
              </a:ext>
            </a:extLst>
          </p:cNvPr>
          <p:cNvSpPr>
            <a:spLocks noGrp="1"/>
          </p:cNvSpPr>
          <p:nvPr>
            <p:custDataLst>
              <p:tags r:id="rId82"/>
            </p:custDataLst>
          </p:nvPr>
        </p:nvSpPr>
        <p:spPr bwMode="auto">
          <a:xfrm>
            <a:off x="1863725" y="3179763"/>
            <a:ext cx="396875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CFB7385A-F8FC-4A37-8163-0620C43039F7}" type="datetime'D''a''''i''ry'''' Pr''''o''d''''uc''t''''''''''s''''''''''''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Dairy Product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01" name="Text Placeholder 20">
            <a:extLst>
              <a:ext uri="{FF2B5EF4-FFF2-40B4-BE49-F238E27FC236}">
                <a16:creationId xmlns:a16="http://schemas.microsoft.com/office/drawing/2014/main" id="{485DC3A8-5550-4C78-AA4C-27F4C522D602}"/>
              </a:ext>
            </a:extLst>
          </p:cNvPr>
          <p:cNvSpPr>
            <a:spLocks noGrp="1"/>
          </p:cNvSpPr>
          <p:nvPr>
            <p:custDataLst>
              <p:tags r:id="rId83"/>
            </p:custDataLst>
          </p:nvPr>
        </p:nvSpPr>
        <p:spPr bwMode="gray">
          <a:xfrm>
            <a:off x="1928813" y="2405063"/>
            <a:ext cx="26828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51B4F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31E5FA29-A498-4A2F-BE60-9E2F58C1EC71}" type="datetime'''''''''''''''''1''''''''''''1''''''%'''''''''''''">
              <a:rPr lang="ru-RU" altLang="en-US" sz="800" smtClean="0">
                <a:solidFill>
                  <a:srgbClr val="FFFFFF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1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04" name="Text Placeholder 20">
            <a:extLst>
              <a:ext uri="{FF2B5EF4-FFF2-40B4-BE49-F238E27FC236}">
                <a16:creationId xmlns:a16="http://schemas.microsoft.com/office/drawing/2014/main" id="{0A35E49D-5F8B-48B9-A569-E4255764D6E8}"/>
              </a:ext>
            </a:extLst>
          </p:cNvPr>
          <p:cNvSpPr>
            <a:spLocks noGrp="1"/>
          </p:cNvSpPr>
          <p:nvPr>
            <p:custDataLst>
              <p:tags r:id="rId84"/>
            </p:custDataLst>
          </p:nvPr>
        </p:nvSpPr>
        <p:spPr bwMode="gray">
          <a:xfrm>
            <a:off x="3387725" y="2465388"/>
            <a:ext cx="26828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51B4F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6070E73F-B4AD-47C7-B9BC-2A12F9AF893F}" type="datetime'''''''''''''1''''''''''''''''''''''0%'''''''''''''''">
              <a:rPr lang="ru-RU" altLang="en-US" sz="800" smtClean="0">
                <a:solidFill>
                  <a:srgbClr val="FFFFFF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0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87" name="Text Placeholder 20">
            <a:extLst>
              <a:ext uri="{FF2B5EF4-FFF2-40B4-BE49-F238E27FC236}">
                <a16:creationId xmlns:a16="http://schemas.microsoft.com/office/drawing/2014/main" id="{CA2A3A8E-DBDF-4E65-B24E-9918DCE8798A}"/>
              </a:ext>
            </a:extLst>
          </p:cNvPr>
          <p:cNvSpPr>
            <a:spLocks noGrp="1"/>
          </p:cNvSpPr>
          <p:nvPr>
            <p:custDataLst>
              <p:tags r:id="rId85"/>
            </p:custDataLst>
          </p:nvPr>
        </p:nvSpPr>
        <p:spPr bwMode="auto">
          <a:xfrm>
            <a:off x="3254375" y="3179763"/>
            <a:ext cx="5334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5327DF56-FAD0-4E40-8D2A-EE4570AE2B74}" type="datetime'Ve''geta''ble''s, frui''ts, berrie''s, mushr''oo''''ms''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Vegetables, fruits, berries, mushroom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09" name="Text Placeholder 20">
            <a:extLst>
              <a:ext uri="{FF2B5EF4-FFF2-40B4-BE49-F238E27FC236}">
                <a16:creationId xmlns:a16="http://schemas.microsoft.com/office/drawing/2014/main" id="{E66CA8A2-4691-4CE8-A0F9-08EE98730C6F}"/>
              </a:ext>
            </a:extLst>
          </p:cNvPr>
          <p:cNvSpPr>
            <a:spLocks noGrp="1"/>
          </p:cNvSpPr>
          <p:nvPr>
            <p:custDataLst>
              <p:tags r:id="rId86"/>
            </p:custDataLst>
          </p:nvPr>
        </p:nvSpPr>
        <p:spPr bwMode="gray">
          <a:xfrm>
            <a:off x="7796213" y="2879725"/>
            <a:ext cx="2032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17B2B015-46AB-4DFF-870F-9BFB15A9B55C}" type="datetime'''''''''''''''''''''''''3''''''%'''''''''">
              <a:rPr lang="ru-RU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3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06" name="Text Placeholder 20">
            <a:extLst>
              <a:ext uri="{FF2B5EF4-FFF2-40B4-BE49-F238E27FC236}">
                <a16:creationId xmlns:a16="http://schemas.microsoft.com/office/drawing/2014/main" id="{F23AE0EB-15E9-4928-8061-28FC8437246F}"/>
              </a:ext>
            </a:extLst>
          </p:cNvPr>
          <p:cNvSpPr>
            <a:spLocks noGrp="1"/>
          </p:cNvSpPr>
          <p:nvPr>
            <p:custDataLst>
              <p:tags r:id="rId87"/>
            </p:custDataLst>
          </p:nvPr>
        </p:nvSpPr>
        <p:spPr bwMode="gray">
          <a:xfrm>
            <a:off x="3905250" y="2643188"/>
            <a:ext cx="2032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51B4F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16F59757-9112-44BE-999B-7C8AE362C64A}" type="datetime'''''''''''''''''''''''7''''''''''''''''''''''''''''%'">
              <a:rPr lang="ru-RU" altLang="en-US" sz="800" smtClean="0">
                <a:solidFill>
                  <a:srgbClr val="FFFFFF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7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31" name="Text Placeholder 20">
            <a:extLst>
              <a:ext uri="{FF2B5EF4-FFF2-40B4-BE49-F238E27FC236}">
                <a16:creationId xmlns:a16="http://schemas.microsoft.com/office/drawing/2014/main" id="{BA0FE2A5-2178-4BCF-A7BB-B0BF2287CD63}"/>
              </a:ext>
            </a:extLst>
          </p:cNvPr>
          <p:cNvSpPr>
            <a:spLocks noGrp="1"/>
          </p:cNvSpPr>
          <p:nvPr>
            <p:custDataLst>
              <p:tags r:id="rId88"/>
            </p:custDataLst>
          </p:nvPr>
        </p:nvSpPr>
        <p:spPr bwMode="auto">
          <a:xfrm>
            <a:off x="10150475" y="3179763"/>
            <a:ext cx="357188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FE4BE326-1D8B-4012-9A94-3F62094EA666}" type="datetime'''''''''G''''''''oo''ds'''' ''fo''''''r'' ''pet''s''''''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Goods for pet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10" name="Text Placeholder 20">
            <a:extLst>
              <a:ext uri="{FF2B5EF4-FFF2-40B4-BE49-F238E27FC236}">
                <a16:creationId xmlns:a16="http://schemas.microsoft.com/office/drawing/2014/main" id="{D5D43208-0157-401C-8F77-8B978ED2758E}"/>
              </a:ext>
            </a:extLst>
          </p:cNvPr>
          <p:cNvSpPr>
            <a:spLocks noGrp="1"/>
          </p:cNvSpPr>
          <p:nvPr>
            <p:custDataLst>
              <p:tags r:id="rId89"/>
            </p:custDataLst>
          </p:nvPr>
        </p:nvSpPr>
        <p:spPr bwMode="gray">
          <a:xfrm>
            <a:off x="4392613" y="2720975"/>
            <a:ext cx="2032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51B4F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07B2CB23-8565-4E7C-8E03-113EBFF54041}" type="datetime'''''''''''''''''''6''''''''%'''''''''''''''''''''''''''''''''">
              <a:rPr lang="ru-RU" altLang="en-US" sz="800" smtClean="0">
                <a:solidFill>
                  <a:srgbClr val="FFFFFF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6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11" name="Text Placeholder 20">
            <a:extLst>
              <a:ext uri="{FF2B5EF4-FFF2-40B4-BE49-F238E27FC236}">
                <a16:creationId xmlns:a16="http://schemas.microsoft.com/office/drawing/2014/main" id="{21116418-3589-45F9-967E-3074C38E342C}"/>
              </a:ext>
            </a:extLst>
          </p:cNvPr>
          <p:cNvSpPr>
            <a:spLocks noGrp="1"/>
          </p:cNvSpPr>
          <p:nvPr>
            <p:custDataLst>
              <p:tags r:id="rId90"/>
            </p:custDataLst>
          </p:nvPr>
        </p:nvSpPr>
        <p:spPr bwMode="auto">
          <a:xfrm>
            <a:off x="4352925" y="3179763"/>
            <a:ext cx="284163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09D8A215-318D-4E8C-96F0-A0E29C7B3422}" type="datetime'S''''''o''''''f''t ''''dri''''''''''n''''k''''s''''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Soft drink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85" name="Text Placeholder 20">
            <a:extLst>
              <a:ext uri="{FF2B5EF4-FFF2-40B4-BE49-F238E27FC236}">
                <a16:creationId xmlns:a16="http://schemas.microsoft.com/office/drawing/2014/main" id="{E8252ADF-9BCA-427E-8E7D-9A7F28163222}"/>
              </a:ext>
            </a:extLst>
          </p:cNvPr>
          <p:cNvSpPr>
            <a:spLocks noGrp="1"/>
          </p:cNvSpPr>
          <p:nvPr>
            <p:custDataLst>
              <p:tags r:id="rId91"/>
            </p:custDataLst>
          </p:nvPr>
        </p:nvSpPr>
        <p:spPr bwMode="gray">
          <a:xfrm>
            <a:off x="4878388" y="2790825"/>
            <a:ext cx="2032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C3AE92A8-4B94-4A91-8456-A1BB85FAFA86}" type="datetime'''''''''''''''''4''''''''''''%'''''''''''''''''''">
              <a:rPr lang="ru-RU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4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14" name="Text Placeholder 20">
            <a:extLst>
              <a:ext uri="{FF2B5EF4-FFF2-40B4-BE49-F238E27FC236}">
                <a16:creationId xmlns:a16="http://schemas.microsoft.com/office/drawing/2014/main" id="{33796D32-5EE8-4DDF-AAE8-289FDC3B47DD}"/>
              </a:ext>
            </a:extLst>
          </p:cNvPr>
          <p:cNvSpPr>
            <a:spLocks noGrp="1"/>
          </p:cNvSpPr>
          <p:nvPr>
            <p:custDataLst>
              <p:tags r:id="rId92"/>
            </p:custDataLst>
          </p:nvPr>
        </p:nvSpPr>
        <p:spPr bwMode="auto">
          <a:xfrm>
            <a:off x="4741863" y="3179763"/>
            <a:ext cx="476250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C90E62AD-7E3E-4A32-B520-6DE7F6C63891}" type="datetime'Hous''''''''''''ehold che''''m''''''''''''''''''''ical''s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Household chemical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84" name="Text Placeholder 20">
            <a:extLst>
              <a:ext uri="{FF2B5EF4-FFF2-40B4-BE49-F238E27FC236}">
                <a16:creationId xmlns:a16="http://schemas.microsoft.com/office/drawing/2014/main" id="{66461BA9-C5D8-489F-9170-312C33BEC23E}"/>
              </a:ext>
            </a:extLst>
          </p:cNvPr>
          <p:cNvSpPr>
            <a:spLocks noGrp="1"/>
          </p:cNvSpPr>
          <p:nvPr>
            <p:custDataLst>
              <p:tags r:id="rId93"/>
            </p:custDataLst>
          </p:nvPr>
        </p:nvSpPr>
        <p:spPr bwMode="auto">
          <a:xfrm>
            <a:off x="5310188" y="3179763"/>
            <a:ext cx="312738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8A26C8FA-F49E-4814-8893-41042304B904}" type="datetime'''Te''''a,'''''''''''''' cof''fe''e,'' c''ocoa''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Tea, coffee, cocoa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17" name="Text Placeholder 20">
            <a:extLst>
              <a:ext uri="{FF2B5EF4-FFF2-40B4-BE49-F238E27FC236}">
                <a16:creationId xmlns:a16="http://schemas.microsoft.com/office/drawing/2014/main" id="{C0BBCA2B-5520-4817-AE8A-F444B9E019B0}"/>
              </a:ext>
            </a:extLst>
          </p:cNvPr>
          <p:cNvSpPr>
            <a:spLocks noGrp="1"/>
          </p:cNvSpPr>
          <p:nvPr>
            <p:custDataLst>
              <p:tags r:id="rId94"/>
            </p:custDataLst>
          </p:nvPr>
        </p:nvSpPr>
        <p:spPr bwMode="gray">
          <a:xfrm>
            <a:off x="5851525" y="2841625"/>
            <a:ext cx="2032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72452E83-218A-4AEC-AD5E-4505E9AB9711}" type="datetime'''''''''''''''4''%'''''''''''''''''''''''''">
              <a:rPr lang="ru-RU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4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41" name="Text Placeholder 20">
            <a:extLst>
              <a:ext uri="{FF2B5EF4-FFF2-40B4-BE49-F238E27FC236}">
                <a16:creationId xmlns:a16="http://schemas.microsoft.com/office/drawing/2014/main" id="{A6028BD5-D940-427A-85DD-71090E89BA9B}"/>
              </a:ext>
            </a:extLst>
          </p:cNvPr>
          <p:cNvSpPr>
            <a:spLocks noGrp="1"/>
          </p:cNvSpPr>
          <p:nvPr>
            <p:custDataLst>
              <p:tags r:id="rId95"/>
            </p:custDataLst>
          </p:nvPr>
        </p:nvSpPr>
        <p:spPr bwMode="gray">
          <a:xfrm>
            <a:off x="5264150" y="2524125"/>
            <a:ext cx="4032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CADA16AD-53AB-44A5-AFC6-9015ED837D04}" type="datetime'''3'''''''''''''' ''2''''1''''''''0'''''''''''''''''''''">
              <a:rPr lang="en-US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3 210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23" name="Text Placeholder 20">
            <a:extLst>
              <a:ext uri="{FF2B5EF4-FFF2-40B4-BE49-F238E27FC236}">
                <a16:creationId xmlns:a16="http://schemas.microsoft.com/office/drawing/2014/main" id="{9D3309A9-B529-4B78-822E-6916D1B9A2B7}"/>
              </a:ext>
            </a:extLst>
          </p:cNvPr>
          <p:cNvSpPr>
            <a:spLocks noGrp="1"/>
          </p:cNvSpPr>
          <p:nvPr>
            <p:custDataLst>
              <p:tags r:id="rId96"/>
            </p:custDataLst>
          </p:nvPr>
        </p:nvSpPr>
        <p:spPr bwMode="auto">
          <a:xfrm>
            <a:off x="6723063" y="3179763"/>
            <a:ext cx="403225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F86F092E-91CF-469C-869D-C3AA577CD93E}" type="datetime'Bee''r ''and ''l''ig''''ht al''cohol'' ''''d''''rin''ks'">
              <a:rPr lang="en-US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Beer and light alcohol drink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22" name="Text Placeholder 20">
            <a:extLst>
              <a:ext uri="{FF2B5EF4-FFF2-40B4-BE49-F238E27FC236}">
                <a16:creationId xmlns:a16="http://schemas.microsoft.com/office/drawing/2014/main" id="{CB4C6B26-CF81-4E47-A120-0DF32F7F62B3}"/>
              </a:ext>
            </a:extLst>
          </p:cNvPr>
          <p:cNvSpPr>
            <a:spLocks noGrp="1"/>
          </p:cNvSpPr>
          <p:nvPr>
            <p:custDataLst>
              <p:tags r:id="rId97"/>
            </p:custDataLst>
          </p:nvPr>
        </p:nvSpPr>
        <p:spPr bwMode="gray">
          <a:xfrm>
            <a:off x="6823075" y="2867025"/>
            <a:ext cx="2032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2AF4682F-884B-47CF-960E-B3B1AD782069}" type="datetime'3''''''''''''''%'''''''''''''''''''''''''''''">
              <a:rPr lang="ru-RU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3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18" name="Text Placeholder 20">
            <a:extLst>
              <a:ext uri="{FF2B5EF4-FFF2-40B4-BE49-F238E27FC236}">
                <a16:creationId xmlns:a16="http://schemas.microsoft.com/office/drawing/2014/main" id="{AEFD9B91-89BF-4D5B-BCF1-A564E7BC49EC}"/>
              </a:ext>
            </a:extLst>
          </p:cNvPr>
          <p:cNvSpPr>
            <a:spLocks noGrp="1"/>
          </p:cNvSpPr>
          <p:nvPr>
            <p:custDataLst>
              <p:tags r:id="rId98"/>
            </p:custDataLst>
          </p:nvPr>
        </p:nvSpPr>
        <p:spPr bwMode="auto">
          <a:xfrm>
            <a:off x="5791200" y="3179763"/>
            <a:ext cx="323850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D33E445B-8533-4883-97E3-712DEB239E24}" type="datetime'''''S''tr''o''''n''''g'' ''a''''lc''''oh''''ol''''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Strong alcohol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20" name="Text Placeholder 20">
            <a:extLst>
              <a:ext uri="{FF2B5EF4-FFF2-40B4-BE49-F238E27FC236}">
                <a16:creationId xmlns:a16="http://schemas.microsoft.com/office/drawing/2014/main" id="{220E3963-A1DB-42A8-8900-1F1AB69D5B5F}"/>
              </a:ext>
            </a:extLst>
          </p:cNvPr>
          <p:cNvSpPr>
            <a:spLocks noGrp="1"/>
          </p:cNvSpPr>
          <p:nvPr>
            <p:custDataLst>
              <p:tags r:id="rId99"/>
            </p:custDataLst>
          </p:nvPr>
        </p:nvSpPr>
        <p:spPr bwMode="gray">
          <a:xfrm>
            <a:off x="6337300" y="2862263"/>
            <a:ext cx="2032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6C615C3C-E98C-4F49-B698-4F79ACB7137B}" type="datetime'''''''3''%'''''''''''''''''''''''''''">
              <a:rPr lang="ru-RU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3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21" name="Text Placeholder 20">
            <a:extLst>
              <a:ext uri="{FF2B5EF4-FFF2-40B4-BE49-F238E27FC236}">
                <a16:creationId xmlns:a16="http://schemas.microsoft.com/office/drawing/2014/main" id="{60B993A8-4DB5-48A3-B718-BAEB5116B019}"/>
              </a:ext>
            </a:extLst>
          </p:cNvPr>
          <p:cNvSpPr>
            <a:spLocks noGrp="1"/>
          </p:cNvSpPr>
          <p:nvPr>
            <p:custDataLst>
              <p:tags r:id="rId100"/>
            </p:custDataLst>
          </p:nvPr>
        </p:nvSpPr>
        <p:spPr bwMode="auto">
          <a:xfrm>
            <a:off x="6191250" y="3179763"/>
            <a:ext cx="495300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BCCDB09F-E8B8-44E5-9A97-DE1BCE2917F3}" type="datetime'Co''smet''''i''c''s'''', per''f''um''''''e, ''pha''rma''c-s''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Cosmetics, perfume, pharmac-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25" name="Text Placeholder 20">
            <a:extLst>
              <a:ext uri="{FF2B5EF4-FFF2-40B4-BE49-F238E27FC236}">
                <a16:creationId xmlns:a16="http://schemas.microsoft.com/office/drawing/2014/main" id="{F65A8BCC-B72C-4E6D-9CBE-DE810FB81F1C}"/>
              </a:ext>
            </a:extLst>
          </p:cNvPr>
          <p:cNvSpPr>
            <a:spLocks noGrp="1"/>
          </p:cNvSpPr>
          <p:nvPr>
            <p:custDataLst>
              <p:tags r:id="rId101"/>
            </p:custDataLst>
          </p:nvPr>
        </p:nvSpPr>
        <p:spPr bwMode="auto">
          <a:xfrm>
            <a:off x="7699375" y="3179763"/>
            <a:ext cx="398463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65B54E40-B550-442E-A6C2-3B9EF82A6CAA}" type="datetime'F''ro''''''z''e''n'' prod''u''''''ct''''''''''''s''''''''''''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Frozen product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29" name="Text Placeholder 20">
            <a:extLst>
              <a:ext uri="{FF2B5EF4-FFF2-40B4-BE49-F238E27FC236}">
                <a16:creationId xmlns:a16="http://schemas.microsoft.com/office/drawing/2014/main" id="{F35BCC94-F667-4F76-859A-8BC5314A91CE}"/>
              </a:ext>
            </a:extLst>
          </p:cNvPr>
          <p:cNvSpPr>
            <a:spLocks noGrp="1"/>
          </p:cNvSpPr>
          <p:nvPr>
            <p:custDataLst>
              <p:tags r:id="rId102"/>
            </p:custDataLst>
          </p:nvPr>
        </p:nvSpPr>
        <p:spPr bwMode="gray">
          <a:xfrm>
            <a:off x="9740900" y="2981325"/>
            <a:ext cx="2032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0525B872-B9EF-4C29-9AA5-1EEE2C67D34D}" type="datetime'''''''''''''''''''''1''''''''''%'''''''''''''''''''''">
              <a:rPr lang="ru-RU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03" name="Text Placeholder 20">
            <a:extLst>
              <a:ext uri="{FF2B5EF4-FFF2-40B4-BE49-F238E27FC236}">
                <a16:creationId xmlns:a16="http://schemas.microsoft.com/office/drawing/2014/main" id="{7504503C-F7B3-47AF-89AE-EA81870AFB46}"/>
              </a:ext>
            </a:extLst>
          </p:cNvPr>
          <p:cNvSpPr>
            <a:spLocks noGrp="1"/>
          </p:cNvSpPr>
          <p:nvPr>
            <p:custDataLst>
              <p:tags r:id="rId103"/>
            </p:custDataLst>
          </p:nvPr>
        </p:nvSpPr>
        <p:spPr bwMode="auto">
          <a:xfrm>
            <a:off x="8185150" y="3179763"/>
            <a:ext cx="398463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85B67A5D-0EEB-495E-A817-23B7E049DCEF}" type="datetime'''''''''T''''o''''b''''a''c''c''o'' p''''roduct''''''s''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Tobacco product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15" name="Text Placeholder 20">
            <a:extLst>
              <a:ext uri="{FF2B5EF4-FFF2-40B4-BE49-F238E27FC236}">
                <a16:creationId xmlns:a16="http://schemas.microsoft.com/office/drawing/2014/main" id="{05ADB48A-29AA-4C5E-AE12-F23E709A1F8A}"/>
              </a:ext>
            </a:extLst>
          </p:cNvPr>
          <p:cNvSpPr>
            <a:spLocks noGrp="1"/>
          </p:cNvSpPr>
          <p:nvPr>
            <p:custDataLst>
              <p:tags r:id="rId104"/>
            </p:custDataLst>
          </p:nvPr>
        </p:nvSpPr>
        <p:spPr bwMode="gray">
          <a:xfrm>
            <a:off x="6723063" y="2581275"/>
            <a:ext cx="4032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68C1E5C9-B802-4824-85E8-ADD8F6911AAD}" type="datetime'''2'' ''7''''''''''6''''''''9'''''''''''''''''''''''''">
              <a:rPr lang="en-US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2 769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28" name="Text Placeholder 20">
            <a:extLst>
              <a:ext uri="{FF2B5EF4-FFF2-40B4-BE49-F238E27FC236}">
                <a16:creationId xmlns:a16="http://schemas.microsoft.com/office/drawing/2014/main" id="{6B4E133B-68AD-4F25-A9D7-F3FBDFEC71F4}"/>
              </a:ext>
            </a:extLst>
          </p:cNvPr>
          <p:cNvSpPr>
            <a:spLocks noGrp="1"/>
          </p:cNvSpPr>
          <p:nvPr>
            <p:custDataLst>
              <p:tags r:id="rId105"/>
            </p:custDataLst>
          </p:nvPr>
        </p:nvSpPr>
        <p:spPr bwMode="gray">
          <a:xfrm>
            <a:off x="8767763" y="2930525"/>
            <a:ext cx="2032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ED070005-AD4F-435A-BE0F-E31F8BF504A3}" type="datetime'''''2''''''''%'''''''''''''''''''''''''">
              <a:rPr lang="ru-RU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2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40" name="Text Placeholder 20">
            <a:extLst>
              <a:ext uri="{FF2B5EF4-FFF2-40B4-BE49-F238E27FC236}">
                <a16:creationId xmlns:a16="http://schemas.microsoft.com/office/drawing/2014/main" id="{CE3C329A-ECD8-4DED-9978-A5040AE304DB}"/>
              </a:ext>
            </a:extLst>
          </p:cNvPr>
          <p:cNvSpPr>
            <a:spLocks noGrp="1"/>
          </p:cNvSpPr>
          <p:nvPr>
            <p:custDataLst>
              <p:tags r:id="rId106"/>
            </p:custDataLst>
          </p:nvPr>
        </p:nvSpPr>
        <p:spPr bwMode="gray">
          <a:xfrm>
            <a:off x="3805238" y="2132013"/>
            <a:ext cx="4032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B50105A3-A95E-401A-A378-A510C45C72EB}" type="datetime'6'''' ''''''''''''''''''''''''2''''''''''''''6''''''''''''4'''">
              <a:rPr lang="en-US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6 264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93" name="Text Placeholder 20">
            <a:extLst>
              <a:ext uri="{FF2B5EF4-FFF2-40B4-BE49-F238E27FC236}">
                <a16:creationId xmlns:a16="http://schemas.microsoft.com/office/drawing/2014/main" id="{5510DEAC-A2DD-45B5-A21C-715AF5516814}"/>
              </a:ext>
            </a:extLst>
          </p:cNvPr>
          <p:cNvSpPr>
            <a:spLocks noGrp="1"/>
          </p:cNvSpPr>
          <p:nvPr>
            <p:custDataLst>
              <p:tags r:id="rId107"/>
            </p:custDataLst>
          </p:nvPr>
        </p:nvSpPr>
        <p:spPr bwMode="auto">
          <a:xfrm>
            <a:off x="8753475" y="3179763"/>
            <a:ext cx="231775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4938AEA0-5BE1-4546-8A60-BDE4EDAB928C}" type="datetime'W''''''''''''''''''''i''''''n''''''e''''''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Wine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90" name="Text Placeholder 20">
            <a:extLst>
              <a:ext uri="{FF2B5EF4-FFF2-40B4-BE49-F238E27FC236}">
                <a16:creationId xmlns:a16="http://schemas.microsoft.com/office/drawing/2014/main" id="{61367B6C-2D3F-439B-9F71-DBFDC4E37A11}"/>
              </a:ext>
            </a:extLst>
          </p:cNvPr>
          <p:cNvSpPr>
            <a:spLocks noGrp="1"/>
          </p:cNvSpPr>
          <p:nvPr>
            <p:custDataLst>
              <p:tags r:id="rId108"/>
            </p:custDataLst>
          </p:nvPr>
        </p:nvSpPr>
        <p:spPr bwMode="gray">
          <a:xfrm>
            <a:off x="9255125" y="2967038"/>
            <a:ext cx="2032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3CD958A4-97EE-4900-B29E-9A2809106E30}" type="datetime'''''''''''1''''''''''%'''''''''''''''''''''''''''">
              <a:rPr lang="ru-RU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43" name="Text Placeholder 20">
            <a:extLst>
              <a:ext uri="{FF2B5EF4-FFF2-40B4-BE49-F238E27FC236}">
                <a16:creationId xmlns:a16="http://schemas.microsoft.com/office/drawing/2014/main" id="{9EBC199A-7700-4FCA-B7A1-D68278A824B5}"/>
              </a:ext>
            </a:extLst>
          </p:cNvPr>
          <p:cNvSpPr>
            <a:spLocks noGrp="1"/>
          </p:cNvSpPr>
          <p:nvPr>
            <p:custDataLst>
              <p:tags r:id="rId109"/>
            </p:custDataLst>
          </p:nvPr>
        </p:nvSpPr>
        <p:spPr bwMode="gray">
          <a:xfrm>
            <a:off x="8181975" y="2706688"/>
            <a:ext cx="4032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C84174A0-BDD6-48A2-860D-7355F87B17C2}" type="datetime'''''''''''''''''''''''''''''''''''''''''1'''' ''''80''''0'">
              <a:rPr lang="en-US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 800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38" name="Text Placeholder 20">
            <a:extLst>
              <a:ext uri="{FF2B5EF4-FFF2-40B4-BE49-F238E27FC236}">
                <a16:creationId xmlns:a16="http://schemas.microsoft.com/office/drawing/2014/main" id="{3FE3AD77-A94D-4E4D-8B68-85E1100CF0C2}"/>
              </a:ext>
            </a:extLst>
          </p:cNvPr>
          <p:cNvSpPr>
            <a:spLocks noGrp="1"/>
          </p:cNvSpPr>
          <p:nvPr>
            <p:custDataLst>
              <p:tags r:id="rId110"/>
            </p:custDataLst>
          </p:nvPr>
        </p:nvSpPr>
        <p:spPr bwMode="gray">
          <a:xfrm>
            <a:off x="2833688" y="1717675"/>
            <a:ext cx="4032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8B19A657-AFF7-435A-8EE0-F072F4282A3D}" type="datetime'9 4''''''''''''''''''''''''''''''''''''''''''''''''''77'">
              <a:rPr lang="en-US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9 477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35" name="Text Placeholder 20">
            <a:extLst>
              <a:ext uri="{FF2B5EF4-FFF2-40B4-BE49-F238E27FC236}">
                <a16:creationId xmlns:a16="http://schemas.microsoft.com/office/drawing/2014/main" id="{1D86EE5B-9A38-4786-8EBF-F22825500915}"/>
              </a:ext>
            </a:extLst>
          </p:cNvPr>
          <p:cNvSpPr>
            <a:spLocks noGrp="1"/>
          </p:cNvSpPr>
          <p:nvPr>
            <p:custDataLst>
              <p:tags r:id="rId111"/>
            </p:custDataLst>
          </p:nvPr>
        </p:nvSpPr>
        <p:spPr bwMode="auto">
          <a:xfrm>
            <a:off x="11139488" y="3179763"/>
            <a:ext cx="323850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B2E9D007-9F49-40EE-A99F-FF3A9D370AAF}" type="datetime'''E''l''i''''t''''e'' a''''l''''c''o''h''''''o''''l''''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Elite alcohol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00" name="Text Placeholder 20">
            <a:extLst>
              <a:ext uri="{FF2B5EF4-FFF2-40B4-BE49-F238E27FC236}">
                <a16:creationId xmlns:a16="http://schemas.microsoft.com/office/drawing/2014/main" id="{3260507F-2C83-463E-A895-713DABB73B92}"/>
              </a:ext>
            </a:extLst>
          </p:cNvPr>
          <p:cNvSpPr>
            <a:spLocks noGrp="1"/>
          </p:cNvSpPr>
          <p:nvPr>
            <p:custDataLst>
              <p:tags r:id="rId112"/>
            </p:custDataLst>
          </p:nvPr>
        </p:nvSpPr>
        <p:spPr bwMode="auto">
          <a:xfrm>
            <a:off x="9126538" y="3179763"/>
            <a:ext cx="461963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88AD23A9-004C-4125-94DF-E7A5B34D879D}" type="datetime'''''B''''''a''''''''by'''''''' ''''f''''ood''''''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Baby food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30" name="Text Placeholder 20">
            <a:extLst>
              <a:ext uri="{FF2B5EF4-FFF2-40B4-BE49-F238E27FC236}">
                <a16:creationId xmlns:a16="http://schemas.microsoft.com/office/drawing/2014/main" id="{280BA6D9-F439-42E2-962A-3AFB0FCC82C1}"/>
              </a:ext>
            </a:extLst>
          </p:cNvPr>
          <p:cNvSpPr>
            <a:spLocks noGrp="1"/>
          </p:cNvSpPr>
          <p:nvPr>
            <p:custDataLst>
              <p:tags r:id="rId113"/>
            </p:custDataLst>
          </p:nvPr>
        </p:nvSpPr>
        <p:spPr bwMode="auto">
          <a:xfrm>
            <a:off x="9658350" y="3179763"/>
            <a:ext cx="369888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59D96F69-6432-42F5-8348-C8AABB5C8E72}" type="datetime'''''''''''B''r''''''e''a''d ''''&amp; bak''''''''e''r''''''''y''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Bread &amp; bakery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92" name="Text Placeholder 20">
            <a:extLst>
              <a:ext uri="{FF2B5EF4-FFF2-40B4-BE49-F238E27FC236}">
                <a16:creationId xmlns:a16="http://schemas.microsoft.com/office/drawing/2014/main" id="{5FC44FFF-AEF6-4E91-8D11-2052A4D3C535}"/>
              </a:ext>
            </a:extLst>
          </p:cNvPr>
          <p:cNvSpPr>
            <a:spLocks noGrp="1"/>
          </p:cNvSpPr>
          <p:nvPr>
            <p:custDataLst>
              <p:tags r:id="rId114"/>
            </p:custDataLst>
          </p:nvPr>
        </p:nvSpPr>
        <p:spPr bwMode="gray">
          <a:xfrm>
            <a:off x="10226675" y="2981325"/>
            <a:ext cx="2032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306F77D5-EFC8-4AB0-9B7C-6B6EF927C4D0}" type="datetime'''''''''''''''''''''''''''1''''''%'''">
              <a:rPr lang="ru-RU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32" name="Text Placeholder 20">
            <a:extLst>
              <a:ext uri="{FF2B5EF4-FFF2-40B4-BE49-F238E27FC236}">
                <a16:creationId xmlns:a16="http://schemas.microsoft.com/office/drawing/2014/main" id="{43222AB0-F507-4DCB-A51A-9B1564A0BEBF}"/>
              </a:ext>
            </a:extLst>
          </p:cNvPr>
          <p:cNvSpPr>
            <a:spLocks noGrp="1"/>
          </p:cNvSpPr>
          <p:nvPr>
            <p:custDataLst>
              <p:tags r:id="rId115"/>
            </p:custDataLst>
          </p:nvPr>
        </p:nvSpPr>
        <p:spPr bwMode="auto">
          <a:xfrm>
            <a:off x="10575925" y="3179763"/>
            <a:ext cx="476250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1E5EBB0E-5AA6-4610-8D20-1AFC39E8F98E}" type="datetime'H''''ouseh''''ol''''d'''''''' ''''''go''''od''s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Household good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33" name="Text Placeholder 20">
            <a:extLst>
              <a:ext uri="{FF2B5EF4-FFF2-40B4-BE49-F238E27FC236}">
                <a16:creationId xmlns:a16="http://schemas.microsoft.com/office/drawing/2014/main" id="{EE079AFA-4F13-4C4A-BB0B-9C09FDBF035D}"/>
              </a:ext>
            </a:extLst>
          </p:cNvPr>
          <p:cNvSpPr>
            <a:spLocks noGrp="1"/>
          </p:cNvSpPr>
          <p:nvPr>
            <p:custDataLst>
              <p:tags r:id="rId116"/>
            </p:custDataLst>
          </p:nvPr>
        </p:nvSpPr>
        <p:spPr bwMode="gray">
          <a:xfrm>
            <a:off x="11199813" y="3040063"/>
            <a:ext cx="203200" cy="109538"/>
          </a:xfrm>
          <a:prstGeom prst="rect">
            <a:avLst/>
          </a:prstGeom>
          <a:solidFill>
            <a:srgbClr val="969696"/>
          </a:solidFill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1554FA1C-96D5-4CA2-8571-D2DC965128C5}" type="datetime'''''''''''''''''''''''0''''''''''''''''''%'''''''''''''''''''">
              <a:rPr lang="ru-RU" altLang="en-US" sz="800" smtClean="0">
                <a:solidFill>
                  <a:srgbClr val="000000"/>
                </a:solidFill>
                <a:effectLst/>
              </a:rPr>
              <a:pPr/>
              <a:t>0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+mn-cs"/>
            </a:endParaRPr>
          </a:p>
        </p:txBody>
      </p:sp>
      <p:sp>
        <p:nvSpPr>
          <p:cNvPr id="124" name="Text Placeholder 20">
            <a:extLst>
              <a:ext uri="{FF2B5EF4-FFF2-40B4-BE49-F238E27FC236}">
                <a16:creationId xmlns:a16="http://schemas.microsoft.com/office/drawing/2014/main" id="{61A9068A-D319-46E0-8E94-CD54CE3BDD71}"/>
              </a:ext>
            </a:extLst>
          </p:cNvPr>
          <p:cNvSpPr>
            <a:spLocks noGrp="1"/>
          </p:cNvSpPr>
          <p:nvPr>
            <p:custDataLst>
              <p:tags r:id="rId117"/>
            </p:custDataLst>
          </p:nvPr>
        </p:nvSpPr>
        <p:spPr bwMode="gray">
          <a:xfrm>
            <a:off x="6237288" y="2571750"/>
            <a:ext cx="4032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58A9E621-DEAB-4B3C-BA5A-223BC2F4749D}" type="datetime'''''''2'''' ''''''''8''''''''''''''''''''''5''''''''''2'''''''">
              <a:rPr lang="en-US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2 852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36" name="Text Placeholder 20">
            <a:extLst>
              <a:ext uri="{FF2B5EF4-FFF2-40B4-BE49-F238E27FC236}">
                <a16:creationId xmlns:a16="http://schemas.microsoft.com/office/drawing/2014/main" id="{C957AB90-6236-47F8-8097-E62DCDEB6ED8}"/>
              </a:ext>
            </a:extLst>
          </p:cNvPr>
          <p:cNvSpPr>
            <a:spLocks noGrp="1"/>
          </p:cNvSpPr>
          <p:nvPr>
            <p:custDataLst>
              <p:tags r:id="rId118"/>
            </p:custDataLst>
          </p:nvPr>
        </p:nvSpPr>
        <p:spPr bwMode="gray">
          <a:xfrm>
            <a:off x="1335088" y="1617663"/>
            <a:ext cx="4841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3F26127D-EB1A-49D7-8D74-31A2FE1C770D}" type="datetime'''''''''''''''1''''0 ''2''52'''''''''''''''''''">
              <a:rPr lang="en-US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0 252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89" name="Text Placeholder 20">
            <a:extLst>
              <a:ext uri="{FF2B5EF4-FFF2-40B4-BE49-F238E27FC236}">
                <a16:creationId xmlns:a16="http://schemas.microsoft.com/office/drawing/2014/main" id="{1E8603DF-F779-466D-AFD7-6EA7CC33DBAF}"/>
              </a:ext>
            </a:extLst>
          </p:cNvPr>
          <p:cNvSpPr>
            <a:spLocks noGrp="1"/>
          </p:cNvSpPr>
          <p:nvPr>
            <p:custDataLst>
              <p:tags r:id="rId119"/>
            </p:custDataLst>
          </p:nvPr>
        </p:nvSpPr>
        <p:spPr bwMode="gray">
          <a:xfrm>
            <a:off x="9155113" y="2779713"/>
            <a:ext cx="4032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E69C4639-CAA7-4F0C-841F-030ED84EEE4F}" type="datetime'''''1'' ''''''''''''''''''''''2''38'''''''''''''''''''">
              <a:rPr lang="en-US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 238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39" name="Text Placeholder 20">
            <a:extLst>
              <a:ext uri="{FF2B5EF4-FFF2-40B4-BE49-F238E27FC236}">
                <a16:creationId xmlns:a16="http://schemas.microsoft.com/office/drawing/2014/main" id="{478D6267-91EE-4D93-BA50-2970E04ADC9D}"/>
              </a:ext>
            </a:extLst>
          </p:cNvPr>
          <p:cNvSpPr>
            <a:spLocks noGrp="1"/>
          </p:cNvSpPr>
          <p:nvPr>
            <p:custDataLst>
              <p:tags r:id="rId120"/>
            </p:custDataLst>
          </p:nvPr>
        </p:nvSpPr>
        <p:spPr bwMode="gray">
          <a:xfrm>
            <a:off x="3319463" y="1778000"/>
            <a:ext cx="4032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B9B9E11B-A710-41E5-ABE4-19040AFDFE10}" type="datetime'''''''''''''9 ''''''''''''''''0''''0''''''''''''8'''''''''''''">
              <a:rPr lang="en-US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9 008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26" name="Text Placeholder 20">
            <a:extLst>
              <a:ext uri="{FF2B5EF4-FFF2-40B4-BE49-F238E27FC236}">
                <a16:creationId xmlns:a16="http://schemas.microsoft.com/office/drawing/2014/main" id="{38B1B8A8-7556-4971-B085-00F758C3DEAC}"/>
              </a:ext>
            </a:extLst>
          </p:cNvPr>
          <p:cNvSpPr>
            <a:spLocks noGrp="1"/>
          </p:cNvSpPr>
          <p:nvPr>
            <p:custDataLst>
              <p:tags r:id="rId121"/>
            </p:custDataLst>
          </p:nvPr>
        </p:nvSpPr>
        <p:spPr bwMode="gray">
          <a:xfrm>
            <a:off x="4292600" y="2289175"/>
            <a:ext cx="4032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E21CA738-FEAE-420D-BB1A-1B41A25748F6}" type="datetime'''''''''''''''5'''' ''''04''''''''3'''''''''''''''''''''">
              <a:rPr lang="en-US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5 043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42" name="Text Placeholder 20">
            <a:extLst>
              <a:ext uri="{FF2B5EF4-FFF2-40B4-BE49-F238E27FC236}">
                <a16:creationId xmlns:a16="http://schemas.microsoft.com/office/drawing/2014/main" id="{09057EDA-7C76-46EC-AC06-FDC4D05405B5}"/>
              </a:ext>
            </a:extLst>
          </p:cNvPr>
          <p:cNvSpPr>
            <a:spLocks noGrp="1"/>
          </p:cNvSpPr>
          <p:nvPr>
            <p:custDataLst>
              <p:tags r:id="rId122"/>
            </p:custDataLst>
          </p:nvPr>
        </p:nvSpPr>
        <p:spPr bwMode="gray">
          <a:xfrm>
            <a:off x="5751513" y="2528888"/>
            <a:ext cx="4032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73588BD0-DA81-4C1B-BC82-D25D3D345254}" type="datetime'3'''''' 1''''''''7''''''''''''''''''''8'''">
              <a:rPr lang="en-US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3 178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12" name="Text Placeholder 20">
            <a:extLst>
              <a:ext uri="{FF2B5EF4-FFF2-40B4-BE49-F238E27FC236}">
                <a16:creationId xmlns:a16="http://schemas.microsoft.com/office/drawing/2014/main" id="{A898B64A-D8E0-4BA9-8547-006E862B7627}"/>
              </a:ext>
            </a:extLst>
          </p:cNvPr>
          <p:cNvSpPr>
            <a:spLocks noGrp="1"/>
          </p:cNvSpPr>
          <p:nvPr>
            <p:custDataLst>
              <p:tags r:id="rId123"/>
            </p:custDataLst>
          </p:nvPr>
        </p:nvSpPr>
        <p:spPr bwMode="gray">
          <a:xfrm>
            <a:off x="7208838" y="2600325"/>
            <a:ext cx="4032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7FEFEB1D-62CD-4DEB-A3BC-FBBD93C1BA28}" type="datetime'2'''''''''''''''''''''''''''''''''''''''''''' ''6''19'">
              <a:rPr lang="en-US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2 619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99" name="Text Placeholder 20">
            <a:extLst>
              <a:ext uri="{FF2B5EF4-FFF2-40B4-BE49-F238E27FC236}">
                <a16:creationId xmlns:a16="http://schemas.microsoft.com/office/drawing/2014/main" id="{453705CA-F54E-463F-9C1E-7D102E664D4B}"/>
              </a:ext>
            </a:extLst>
          </p:cNvPr>
          <p:cNvSpPr>
            <a:spLocks noGrp="1"/>
          </p:cNvSpPr>
          <p:nvPr>
            <p:custDataLst>
              <p:tags r:id="rId124"/>
            </p:custDataLst>
          </p:nvPr>
        </p:nvSpPr>
        <p:spPr bwMode="gray">
          <a:xfrm>
            <a:off x="7696200" y="2605088"/>
            <a:ext cx="4032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15A46382-E003-475F-9BC3-F6D28597835C}" type="datetime'''2'''''''''' ''''''''''''''5''8''''''''''''''''''''''''''5'">
              <a:rPr lang="en-US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2 585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08" name="Text Placeholder 20">
            <a:extLst>
              <a:ext uri="{FF2B5EF4-FFF2-40B4-BE49-F238E27FC236}">
                <a16:creationId xmlns:a16="http://schemas.microsoft.com/office/drawing/2014/main" id="{DBC5A1AE-C6CC-4C72-814C-724846541A12}"/>
              </a:ext>
            </a:extLst>
          </p:cNvPr>
          <p:cNvSpPr>
            <a:spLocks noGrp="1"/>
          </p:cNvSpPr>
          <p:nvPr>
            <p:custDataLst>
              <p:tags r:id="rId125"/>
            </p:custDataLst>
          </p:nvPr>
        </p:nvSpPr>
        <p:spPr bwMode="gray">
          <a:xfrm>
            <a:off x="8667750" y="2706688"/>
            <a:ext cx="4032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6B81198F-73C2-4806-A23D-DB6CC6B59BA4}" type="datetime'''''1'''''''''''' ''''7''''''''9''''''''''''''''5'">
              <a:rPr lang="en-US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 795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44" name="Text Placeholder 20">
            <a:extLst>
              <a:ext uri="{FF2B5EF4-FFF2-40B4-BE49-F238E27FC236}">
                <a16:creationId xmlns:a16="http://schemas.microsoft.com/office/drawing/2014/main" id="{4CBA8ADD-798F-473F-83D2-DB18DA32EDD6}"/>
              </a:ext>
            </a:extLst>
          </p:cNvPr>
          <p:cNvSpPr>
            <a:spLocks noGrp="1"/>
          </p:cNvSpPr>
          <p:nvPr>
            <p:custDataLst>
              <p:tags r:id="rId126"/>
            </p:custDataLst>
          </p:nvPr>
        </p:nvSpPr>
        <p:spPr bwMode="gray">
          <a:xfrm>
            <a:off x="9640888" y="2809875"/>
            <a:ext cx="4032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ACEF2B0B-B5A9-46E4-8835-904A9F77CC04}" type="datetime'''1'''''' 0''''''''''''''''''''0''''''''''''''3'''''''">
              <a:rPr lang="en-US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 003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45" name="Text Placeholder 20">
            <a:extLst>
              <a:ext uri="{FF2B5EF4-FFF2-40B4-BE49-F238E27FC236}">
                <a16:creationId xmlns:a16="http://schemas.microsoft.com/office/drawing/2014/main" id="{E0E15089-9A54-4AB1-B0D6-AC810B69FDDD}"/>
              </a:ext>
            </a:extLst>
          </p:cNvPr>
          <p:cNvSpPr>
            <a:spLocks noGrp="1"/>
          </p:cNvSpPr>
          <p:nvPr>
            <p:custDataLst>
              <p:tags r:id="rId127"/>
            </p:custDataLst>
          </p:nvPr>
        </p:nvSpPr>
        <p:spPr bwMode="gray">
          <a:xfrm>
            <a:off x="10190163" y="2809875"/>
            <a:ext cx="2778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F2058E0A-014C-418C-A5BE-04C7F82A8860}" type="datetime'''''''''''''''''''9''''9''''''''''''''''''''''''''''''5'">
              <a:rPr lang="en-US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995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96" name="Text Placeholder 20">
            <a:extLst>
              <a:ext uri="{FF2B5EF4-FFF2-40B4-BE49-F238E27FC236}">
                <a16:creationId xmlns:a16="http://schemas.microsoft.com/office/drawing/2014/main" id="{E0AFBAEC-1488-47AA-BC2C-F402870B2881}"/>
              </a:ext>
            </a:extLst>
          </p:cNvPr>
          <p:cNvSpPr>
            <a:spLocks noGrp="1"/>
          </p:cNvSpPr>
          <p:nvPr>
            <p:custDataLst>
              <p:tags r:id="rId128"/>
            </p:custDataLst>
          </p:nvPr>
        </p:nvSpPr>
        <p:spPr bwMode="gray">
          <a:xfrm>
            <a:off x="10675938" y="2819400"/>
            <a:ext cx="2778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91FAE6E1-6353-4DA8-A18B-F726B368F8EC}" type="datetime'''''''''9''''''''''''''''''''''''''''''''''''''''''1''''''''9'">
              <a:rPr lang="en-US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919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46" name="Text Placeholder 20">
            <a:extLst>
              <a:ext uri="{FF2B5EF4-FFF2-40B4-BE49-F238E27FC236}">
                <a16:creationId xmlns:a16="http://schemas.microsoft.com/office/drawing/2014/main" id="{8454A5F9-E922-4392-83A1-835E579A3F94}"/>
              </a:ext>
            </a:extLst>
          </p:cNvPr>
          <p:cNvSpPr>
            <a:spLocks noGrp="1"/>
          </p:cNvSpPr>
          <p:nvPr>
            <p:custDataLst>
              <p:tags r:id="rId129"/>
            </p:custDataLst>
          </p:nvPr>
        </p:nvSpPr>
        <p:spPr bwMode="gray">
          <a:xfrm>
            <a:off x="11163300" y="2903538"/>
            <a:ext cx="2778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F8F90CE7-D908-414D-95F9-EB127F7B827E}" type="datetime'''''''''''''''''''''1''''''''''''''''''0''''3'">
              <a:rPr lang="en-US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03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7D359BEA-9FD2-44DC-BD7E-9356A1764C82}"/>
              </a:ext>
            </a:extLst>
          </p:cNvPr>
          <p:cNvSpPr/>
          <p:nvPr/>
        </p:nvSpPr>
        <p:spPr>
          <a:xfrm>
            <a:off x="10553880" y="3916818"/>
            <a:ext cx="1012447" cy="391200"/>
          </a:xfrm>
          <a:prstGeom prst="rect">
            <a:avLst/>
          </a:prstGeom>
          <a:solidFill>
            <a:srgbClr val="B51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KZ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≈</a:t>
            </a: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70%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f sales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4597E893-44F7-4919-8D12-AF315F702D59}"/>
              </a:ext>
            </a:extLst>
          </p:cNvPr>
          <p:cNvSpPr/>
          <p:nvPr/>
        </p:nvSpPr>
        <p:spPr>
          <a:xfrm>
            <a:off x="10550840" y="1342350"/>
            <a:ext cx="1012447" cy="391200"/>
          </a:xfrm>
          <a:prstGeom prst="rect">
            <a:avLst/>
          </a:prstGeom>
          <a:solidFill>
            <a:srgbClr val="B51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KZ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≈</a:t>
            </a: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70%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f sales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9A55B6F3-0927-4937-8B4A-73752656D1B5}"/>
              </a:ext>
            </a:extLst>
          </p:cNvPr>
          <p:cNvSpPr txBox="1"/>
          <p:nvPr/>
        </p:nvSpPr>
        <p:spPr bwMode="gray">
          <a:xfrm>
            <a:off x="674948" y="2338388"/>
            <a:ext cx="647199" cy="27463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hare of total sales, %</a:t>
            </a:r>
            <a:endParaRPr kumimoji="0" lang="ru-RU" sz="7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BB7489C6-4A9C-4DE3-AD42-28C149D0A98F}"/>
              </a:ext>
            </a:extLst>
          </p:cNvPr>
          <p:cNvSpPr txBox="1"/>
          <p:nvPr/>
        </p:nvSpPr>
        <p:spPr bwMode="gray">
          <a:xfrm>
            <a:off x="683743" y="1652585"/>
            <a:ext cx="647199" cy="19367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ales</a:t>
            </a:r>
            <a:endParaRPr kumimoji="0" lang="ru-RU" sz="7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6DE60643-4DEF-4B1C-8D79-EC64FE4DA688}"/>
              </a:ext>
            </a:extLst>
          </p:cNvPr>
          <p:cNvSpPr txBox="1"/>
          <p:nvPr/>
        </p:nvSpPr>
        <p:spPr bwMode="gray">
          <a:xfrm>
            <a:off x="710225" y="4880644"/>
            <a:ext cx="647199" cy="27463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hare of total sales, %</a:t>
            </a:r>
            <a:endParaRPr kumimoji="0" lang="ru-RU" sz="7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EE0A32E9-0C0A-45F5-B21C-1E4B88EEC4F4}"/>
              </a:ext>
            </a:extLst>
          </p:cNvPr>
          <p:cNvSpPr txBox="1"/>
          <p:nvPr/>
        </p:nvSpPr>
        <p:spPr bwMode="gray">
          <a:xfrm>
            <a:off x="718371" y="4151992"/>
            <a:ext cx="647199" cy="19367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ales</a:t>
            </a:r>
            <a:endParaRPr kumimoji="0" lang="ru-RU" sz="7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3" name="Slide Number Placeholder 162">
            <a:extLst>
              <a:ext uri="{FF2B5EF4-FFF2-40B4-BE49-F238E27FC236}">
                <a16:creationId xmlns:a16="http://schemas.microsoft.com/office/drawing/2014/main" id="{ED01BF16-8CE2-40C6-9865-823ECA4544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6D2641-81B4-4FA9-AABA-CD0BE301EB4F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633738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9FBDCD-8AFA-4187-9760-F291DAA622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25673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9" imgW="378" imgH="377" progId="TCLayout.ActiveDocument.1">
                  <p:embed/>
                </p:oleObj>
              </mc:Choice>
              <mc:Fallback>
                <p:oleObj name="think-cell Slide" r:id="rId119" imgW="378" imgH="37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9FBDCD-8AFA-4187-9760-F291DAA622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D8FAFC92-18B7-49DE-AAC3-D2B7F9C3702B}"/>
              </a:ext>
            </a:extLst>
          </p:cNvPr>
          <p:cNvSpPr txBox="1"/>
          <p:nvPr/>
        </p:nvSpPr>
        <p:spPr>
          <a:xfrm>
            <a:off x="688185" y="556502"/>
            <a:ext cx="7410786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ITC Avant Garde Pro Md" panose="020B0602020202020204" pitchFamily="34" charset="0"/>
              </a:rPr>
              <a:t>Offline vs. Online in Non-Food clas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1BB43B2-8756-4C3E-93B0-253FACE8C63F}"/>
              </a:ext>
            </a:extLst>
          </p:cNvPr>
          <p:cNvSpPr txBox="1"/>
          <p:nvPr/>
        </p:nvSpPr>
        <p:spPr>
          <a:xfrm>
            <a:off x="788122" y="3919931"/>
            <a:ext cx="20378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ITC Avant Garde Pro Bk" panose="020B0502020202020204" pitchFamily="34" charset="0"/>
              </a:rPr>
              <a:t>Offline vs. Onlin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3C7766D-E193-4077-80FA-33056F2BB974}"/>
              </a:ext>
            </a:extLst>
          </p:cNvPr>
          <p:cNvCxnSpPr>
            <a:cxnSpLocks/>
          </p:cNvCxnSpPr>
          <p:nvPr/>
        </p:nvCxnSpPr>
        <p:spPr>
          <a:xfrm>
            <a:off x="688185" y="1082000"/>
            <a:ext cx="1101613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35" name="Chart 134">
            <a:extLst>
              <a:ext uri="{FF2B5EF4-FFF2-40B4-BE49-F238E27FC236}">
                <a16:creationId xmlns:a16="http://schemas.microsoft.com/office/drawing/2014/main" id="{A5C9172E-AF22-48E5-B969-F5F54948591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7286625"/>
              </p:ext>
            </p:extLst>
          </p:nvPr>
        </p:nvGraphicFramePr>
        <p:xfrm>
          <a:off x="1390650" y="4248150"/>
          <a:ext cx="10302875" cy="1485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1"/>
          </a:graphicData>
        </a:graphic>
      </p:graphicFrame>
      <p:sp>
        <p:nvSpPr>
          <p:cNvPr id="32" name="Text Placeholder 20">
            <a:extLst>
              <a:ext uri="{FF2B5EF4-FFF2-40B4-BE49-F238E27FC236}">
                <a16:creationId xmlns:a16="http://schemas.microsoft.com/office/drawing/2014/main" id="{AD45D95A-BF6E-471F-AE56-5504A630AF08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9553575" y="5734050"/>
            <a:ext cx="377825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3246C09D-9865-4395-8AB9-432CF37B96EE}" type="datetime'''''''''''''''''C''''''''''l''''''''''o''thi''n''''''g''''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Clothing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3" name="Text Placeholder 20">
            <a:extLst>
              <a:ext uri="{FF2B5EF4-FFF2-40B4-BE49-F238E27FC236}">
                <a16:creationId xmlns:a16="http://schemas.microsoft.com/office/drawing/2014/main" id="{8E90F841-F548-4939-8B76-062A849B243E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5275264" y="5734050"/>
            <a:ext cx="398463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EBBFE5A7-65D6-4564-B53B-6601A381F254}" type="datetime'Ba''th, sauna'''' p''ro''''''''''d''''''u''c''''''''''''ts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Bath, sauna product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8" name="Text Placeholder 20">
            <a:extLst>
              <a:ext uri="{FF2B5EF4-FFF2-40B4-BE49-F238E27FC236}">
                <a16:creationId xmlns:a16="http://schemas.microsoft.com/office/drawing/2014/main" id="{FDFF68EA-A873-4177-9632-BD172EB997E1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604963" y="4937125"/>
            <a:ext cx="26828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51B4F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AFD0A0E3-7EBC-4F91-8ADF-0B4216FAFB27}" type="datetime'''''''''''''''3''''''''''4%'''''''''''''''">
              <a:rPr lang="ru-RU" altLang="en-US" sz="800" smtClean="0">
                <a:solidFill>
                  <a:srgbClr val="FFFFFF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34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81CC1045-E082-4351-8D3E-0F01D96A07CD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146550" y="5734050"/>
            <a:ext cx="520700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0E04B203-1BC0-4743-9A24-0C6E925B2D26}" type="datetime'''''''''''Au''t''''o''''m''''o''t''i''''ve ''''g''oods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Automotive good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5" name="Text Placeholder 20">
            <a:extLst>
              <a:ext uri="{FF2B5EF4-FFF2-40B4-BE49-F238E27FC236}">
                <a16:creationId xmlns:a16="http://schemas.microsoft.com/office/drawing/2014/main" id="{AE1E8571-BC87-41FC-BB2D-735B29228F7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500188" y="5734050"/>
            <a:ext cx="476250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AD0B87A0-3F15-473E-ACD1-69EFD63402FB}" type="datetime'''''Hou''''''''''seh''''''ol''d p''''''r''''''o''''duc''ts''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Household product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8" name="Text Placeholder 20">
            <a:extLst>
              <a:ext uri="{FF2B5EF4-FFF2-40B4-BE49-F238E27FC236}">
                <a16:creationId xmlns:a16="http://schemas.microsoft.com/office/drawing/2014/main" id="{C0335BEF-7F84-4F91-ACD6-10BB851926B8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3236913" y="5468938"/>
            <a:ext cx="2032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51B4F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D0B6BDE3-2482-4232-A049-90AAFB2B50B5}" type="datetime'7''''''''''''''''''%'''''''''''''''''''''''">
              <a:rPr lang="ru-RU" altLang="en-US" sz="800" smtClean="0">
                <a:solidFill>
                  <a:srgbClr val="FFFFFF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7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58" name="Text Placeholder 20">
            <a:extLst>
              <a:ext uri="{FF2B5EF4-FFF2-40B4-BE49-F238E27FC236}">
                <a16:creationId xmlns:a16="http://schemas.microsoft.com/office/drawing/2014/main" id="{620308EA-7D79-4D7D-A39A-442E03815449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228975" y="5245100"/>
            <a:ext cx="219075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29FEB5B8-E1A1-4534-A371-52F0FC36A3CC}" type="datetime'''''''''1'''''''''''''''''''''''',''''''''''''''''''''0'''''''">
              <a:rPr lang="en-US" altLang="en-US" sz="9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,0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43" name="Text Placeholder 20">
            <a:extLst>
              <a:ext uri="{FF2B5EF4-FFF2-40B4-BE49-F238E27FC236}">
                <a16:creationId xmlns:a16="http://schemas.microsoft.com/office/drawing/2014/main" id="{51576014-5C8D-4904-8A91-335890B7AAB3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875463" y="5734050"/>
            <a:ext cx="398463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5B495D81-77B9-4CE2-BC70-352BFE3CC972}" type="datetime'D''I''Y ''p''''rod''''''''u''''''c''t''''''''''''''s''''''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DIY product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25BA936-AAB3-48E6-9B5D-D3D5A5A4D558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2138363" y="5362575"/>
            <a:ext cx="26828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51B4F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16B2B1EE-2674-4AEE-A7E5-07B94D41DE88}" type="datetime'''''''''''''1''''''''''''''''2''''''''%'''''''''''''''''">
              <a:rPr lang="ru-RU" altLang="en-US" sz="800" smtClean="0">
                <a:solidFill>
                  <a:srgbClr val="FFFFFF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2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54" name="Text Placeholder 20">
            <a:extLst>
              <a:ext uri="{FF2B5EF4-FFF2-40B4-BE49-F238E27FC236}">
                <a16:creationId xmlns:a16="http://schemas.microsoft.com/office/drawing/2014/main" id="{69703C9F-4807-4AA8-900A-827FCC92F91F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162175" y="5033963"/>
            <a:ext cx="219075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015D3273-5876-4982-A850-73A11E9206F7}" type="datetime'''''''''''''''''''1'''''''''''''''''''''''',8'''''''''''''''">
              <a:rPr lang="en-US" altLang="en-US" sz="9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,8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9EF20BA3-7AF5-4662-BF71-8E7DC1EE60F6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165475" y="5734050"/>
            <a:ext cx="346075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508AED1A-3819-4ECD-8C31-1A7492D723E1}" type="datetime'''''Goods'' ''fo''''''r'''''''''' ''''k''id''''''''''s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Goods for kid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64" name="Text Placeholder 20">
            <a:extLst>
              <a:ext uri="{FF2B5EF4-FFF2-40B4-BE49-F238E27FC236}">
                <a16:creationId xmlns:a16="http://schemas.microsoft.com/office/drawing/2014/main" id="{AEE54964-6C60-4BA6-80CD-D706062D57D2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10699750" y="5468938"/>
            <a:ext cx="219075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470B20D6-88AF-4541-BDA5-043F460EA45E}" type="datetime'''''''''0'''''''''''''''''''''''''''''''''',''''''0'''''">
              <a:rPr lang="en-US" altLang="en-US" sz="9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0,0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71740203-0832-4F0A-902D-60BF05EA8B44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027238" y="5734050"/>
            <a:ext cx="488950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CE71AC4A-8800-413F-9AA3-561F50C7B64E}" type="datetime'''''''E''''''''l''''e''ctro''''''''''''''ni''c''''s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Electronic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7" name="Text Placeholder 20">
            <a:extLst>
              <a:ext uri="{FF2B5EF4-FFF2-40B4-BE49-F238E27FC236}">
                <a16:creationId xmlns:a16="http://schemas.microsoft.com/office/drawing/2014/main" id="{9A6F52C4-D76D-44C7-89DE-A2155C536CD5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10166350" y="5465763"/>
            <a:ext cx="219075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395C9696-A585-4E52-BE3B-CE341C0BA999}" type="datetime'''''0'',''''''''''''''''''''''1'''''''''''''''''">
              <a:rPr lang="en-US" altLang="en-US" sz="9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0,1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60" name="Text Placeholder 20">
            <a:extLst>
              <a:ext uri="{FF2B5EF4-FFF2-40B4-BE49-F238E27FC236}">
                <a16:creationId xmlns:a16="http://schemas.microsoft.com/office/drawing/2014/main" id="{09612E42-7B48-4611-94CE-1D3AFC441110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8031163" y="5449888"/>
            <a:ext cx="219075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BF67EE5A-E130-42CC-89BD-3CE9696BD711}" type="datetime'''''''''''''''''''''''''''0'''''''',''''''''''''''''''''''''2'">
              <a:rPr lang="en-US" altLang="en-US" sz="9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0,2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20" name="Text Placeholder 20">
            <a:extLst>
              <a:ext uri="{FF2B5EF4-FFF2-40B4-BE49-F238E27FC236}">
                <a16:creationId xmlns:a16="http://schemas.microsoft.com/office/drawing/2014/main" id="{7DC027D9-C872-4F70-AED9-0E7F6D7B996C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703513" y="5464175"/>
            <a:ext cx="2032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51B4F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6EAB3BE4-0203-41A9-8C1F-B72279852245}" type="datetime'''''''''''''''''''''''''''''''7''''''''%'''''''''''''''''">
              <a:rPr lang="ru-RU" altLang="en-US" sz="800" smtClean="0">
                <a:solidFill>
                  <a:srgbClr val="FFFFFF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7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7BF89517-54B4-448F-A594-D0CE7FC7437D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2568575" y="5734050"/>
            <a:ext cx="474663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B3DD15CB-1588-4F87-95E5-F4103A0B4E53}" type="datetime'Stat''''i''on''a''r''''''y'' ''''''''''p''''roduc''ts''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Stationary product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49A96D86-365D-48D9-A447-5DEE4F0479DF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3771900" y="5502275"/>
            <a:ext cx="2032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51B4F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28AB08BE-D56A-4001-80C6-96DD41FEC67D}" type="datetime'''''''''''''5''''''%'''''''''''''''''">
              <a:rPr lang="ru-RU" altLang="en-US" sz="800" smtClean="0">
                <a:solidFill>
                  <a:srgbClr val="FFFFFF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5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E34BDE19-D532-4888-BA29-2BCE04CD51BE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3730625" y="5734050"/>
            <a:ext cx="287338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3A13A6A5-15B0-4681-B672-245939875BF2}" type="datetime'Ho''m''''''e'''''''' ''''t''ex''t''''''''''''il''e''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Home textile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3C670FF8-DE76-4852-AC57-71DF611C5336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305300" y="5513388"/>
            <a:ext cx="2032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51B4F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2098CBA6-3F01-4198-94B3-50E7ECC71D08}" type="datetime'4''''''''''''''''''''''''''''''%'''''''''''''''''''''''">
              <a:rPr lang="ru-RU" altLang="en-US" sz="800" smtClean="0">
                <a:solidFill>
                  <a:srgbClr val="FFFFFF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4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51" name="Text Placeholder 20">
            <a:extLst>
              <a:ext uri="{FF2B5EF4-FFF2-40B4-BE49-F238E27FC236}">
                <a16:creationId xmlns:a16="http://schemas.microsoft.com/office/drawing/2014/main" id="{23E06BB2-7963-48F8-90C8-B61078DCAADB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5897563" y="5402263"/>
            <a:ext cx="219075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426E5A12-0B94-4F20-87B6-450CEFAD1290}" type="datetime'''0'''''''''''''',''''''''4'''''''''''''''''''''''''">
              <a:rPr lang="en-US" altLang="en-US" sz="9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0,4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29" name="Text Placeholder 20">
            <a:extLst>
              <a:ext uri="{FF2B5EF4-FFF2-40B4-BE49-F238E27FC236}">
                <a16:creationId xmlns:a16="http://schemas.microsoft.com/office/drawing/2014/main" id="{525CB9ED-E428-47BD-9F50-207382F60C59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4838700" y="5540375"/>
            <a:ext cx="2032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4A3266C4-5D87-4604-81D1-571111F99872}" type="datetime'''''''''''3''''''''''''''''''''''''''''''%'''''''''''''">
              <a:rPr lang="ru-RU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3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2E1D3A42-1FC2-458E-8CBF-5DDBB50C7628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4768850" y="5734050"/>
            <a:ext cx="342900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FBABCD2C-FD2C-425A-88AE-9739AB8200D9}" type="datetime'''Gard''e''''n &amp;'''''''''''''''''''' ''''To''''''o''''''''ls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Garden &amp; Tool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59" name="Text Placeholder 20">
            <a:extLst>
              <a:ext uri="{FF2B5EF4-FFF2-40B4-BE49-F238E27FC236}">
                <a16:creationId xmlns:a16="http://schemas.microsoft.com/office/drawing/2014/main" id="{14B49EAD-886F-4FCB-A2D0-7E2001916D1A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430963" y="5432425"/>
            <a:ext cx="219075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1404713C-E573-4548-B277-A079893608AC}" type="datetime'''''0,''''''''''''3'''''''''''''''''''''''">
              <a:rPr lang="en-US" altLang="en-US" sz="9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0,3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851918EC-4E84-424D-BF62-1DD3C2F6D933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5372100" y="5540375"/>
            <a:ext cx="2032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7791DF7C-DBE1-4E98-91B6-A3ADA08BB399}" type="datetime'''''''''''''''''''''''''''''''''''''''''''''''''''''3%'''''">
              <a:rPr lang="ru-RU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3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FB66E0A6-D139-4410-B603-1751FFAFBD16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5905500" y="5546725"/>
            <a:ext cx="2032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CCC5D108-2753-498F-AA94-EB40DADEFC62}" type="datetime'''''''3''''''''''''''%'''''''''''''''''''''''">
              <a:rPr lang="ru-RU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3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63" name="Text Placeholder 20">
            <a:extLst>
              <a:ext uri="{FF2B5EF4-FFF2-40B4-BE49-F238E27FC236}">
                <a16:creationId xmlns:a16="http://schemas.microsoft.com/office/drawing/2014/main" id="{44ED182F-BA24-4ABA-81A3-86260ED7C5B5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9632950" y="5465763"/>
            <a:ext cx="219075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41AAA911-DD35-472A-9FB1-4FF10A2CC94A}" type="datetime'''''''0'''''''''',1'''''''''''''''''''''''''">
              <a:rPr lang="en-US" altLang="en-US" sz="9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0,1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5" name="Text Placeholder 20">
            <a:extLst>
              <a:ext uri="{FF2B5EF4-FFF2-40B4-BE49-F238E27FC236}">
                <a16:creationId xmlns:a16="http://schemas.microsoft.com/office/drawing/2014/main" id="{2D8E7DA1-9CFA-45C3-A775-3E3F43466D82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5821363" y="5734050"/>
            <a:ext cx="371475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43676CA4-AAA3-446B-8517-1A8923F0AC3F}" type="datetime'P''''arty ''''su''''''pp''lies &amp;''''c''ra''''''''f''t''s''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Party supplies &amp;craft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46" name="Text Placeholder 20">
            <a:extLst>
              <a:ext uri="{FF2B5EF4-FFF2-40B4-BE49-F238E27FC236}">
                <a16:creationId xmlns:a16="http://schemas.microsoft.com/office/drawing/2014/main" id="{569BA910-D94D-4600-81A7-215220BA5B11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7367588" y="5734050"/>
            <a:ext cx="479425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443F9C69-B27B-4BDD-AAF9-8B78FAD7A4C9}" type="datetime'''''H''ouseh''''o''''ld'' app''''li''''a''''nc''''''''e''''s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Household appliance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6" name="Text Placeholder 20">
            <a:extLst>
              <a:ext uri="{FF2B5EF4-FFF2-40B4-BE49-F238E27FC236}">
                <a16:creationId xmlns:a16="http://schemas.microsoft.com/office/drawing/2014/main" id="{04D1DDEC-D578-4C0B-AFC3-4068659A07F5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6438900" y="5562600"/>
            <a:ext cx="203200" cy="109538"/>
          </a:xfrm>
          <a:prstGeom prst="rect">
            <a:avLst/>
          </a:prstGeom>
          <a:solidFill>
            <a:srgbClr val="969696"/>
          </a:solidFill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1BD7BF56-FD09-4DCF-BD16-562AAAD09DF5}" type="datetime'''''''''''''''''''''''''''''''''2''''''''''''''''%'''''''">
              <a:rPr lang="ru-RU" altLang="en-US" sz="800" smtClean="0">
                <a:solidFill>
                  <a:srgbClr val="000000"/>
                </a:solidFill>
                <a:effectLst/>
              </a:rPr>
              <a:pPr/>
              <a:t>2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+mn-cs"/>
            </a:endParaRPr>
          </a:p>
        </p:txBody>
      </p:sp>
      <p:sp>
        <p:nvSpPr>
          <p:cNvPr id="53" name="Text Placeholder 20">
            <a:extLst>
              <a:ext uri="{FF2B5EF4-FFF2-40B4-BE49-F238E27FC236}">
                <a16:creationId xmlns:a16="http://schemas.microsoft.com/office/drawing/2014/main" id="{19649066-0E72-4997-97A1-A3021BF25CAB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4297363" y="5334000"/>
            <a:ext cx="219075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44C0341E-61AA-43FD-A518-A213E8A92585}" type="datetime'''''''''''0'''''''''''''''',''''''6'''''''''''''''''''">
              <a:rPr lang="en-US" altLang="en-US" sz="9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0,6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9" name="Text Placeholder 20">
            <a:extLst>
              <a:ext uri="{FF2B5EF4-FFF2-40B4-BE49-F238E27FC236}">
                <a16:creationId xmlns:a16="http://schemas.microsoft.com/office/drawing/2014/main" id="{0AF06103-5A10-42C5-9B8B-2E5ABFDF0CB7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6338888" y="5734050"/>
            <a:ext cx="403225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4203943C-162A-4B5F-B8EE-7A3FA4C8735E}" type="datetime'''''''T''''ou''r''''i''''sm'', ''p''''icni''''''''''c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Tourism, picnic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47" name="Text Placeholder 20">
            <a:extLst>
              <a:ext uri="{FF2B5EF4-FFF2-40B4-BE49-F238E27FC236}">
                <a16:creationId xmlns:a16="http://schemas.microsoft.com/office/drawing/2014/main" id="{46B047B7-030C-4995-BAED-9BECD514CFC0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7910513" y="5734050"/>
            <a:ext cx="460375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733AAA9E-370D-4DDE-837F-8779339F6D2B}" type="datetime'''Ho''''''''''''s''i''er''y ''''a''nd ''t''ig''h''ts''''''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Hosiery and tight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41" name="Text Placeholder 20">
            <a:extLst>
              <a:ext uri="{FF2B5EF4-FFF2-40B4-BE49-F238E27FC236}">
                <a16:creationId xmlns:a16="http://schemas.microsoft.com/office/drawing/2014/main" id="{F9B501F1-0CF0-4125-9B7D-41CBB4A1E319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8039100" y="5573713"/>
            <a:ext cx="203200" cy="109538"/>
          </a:xfrm>
          <a:prstGeom prst="rect">
            <a:avLst/>
          </a:prstGeom>
          <a:solidFill>
            <a:srgbClr val="969696"/>
          </a:solidFill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C3EA87BD-F04E-4F54-A373-646C6269175D}" type="datetime'''1''%'''">
              <a:rPr lang="ru-RU" altLang="en-US" sz="800" smtClean="0">
                <a:solidFill>
                  <a:srgbClr val="000000"/>
                </a:solidFill>
                <a:effectLst/>
              </a:rPr>
              <a:pPr/>
              <a:t>1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+mn-cs"/>
            </a:endParaRPr>
          </a:p>
        </p:txBody>
      </p:sp>
      <p:sp>
        <p:nvSpPr>
          <p:cNvPr id="42" name="Text Placeholder 20">
            <a:extLst>
              <a:ext uri="{FF2B5EF4-FFF2-40B4-BE49-F238E27FC236}">
                <a16:creationId xmlns:a16="http://schemas.microsoft.com/office/drawing/2014/main" id="{08F60AEC-2604-4099-93A9-613A619D0452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6972300" y="5572125"/>
            <a:ext cx="203200" cy="109538"/>
          </a:xfrm>
          <a:prstGeom prst="rect">
            <a:avLst/>
          </a:prstGeom>
          <a:solidFill>
            <a:srgbClr val="969696"/>
          </a:solidFill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64E80AC3-F21D-40F7-B149-779A7DD79D5E}" type="datetime'''''''''''''''''1''''''''''''''''''%'''">
              <a:rPr lang="ru-RU" altLang="en-US" sz="800" smtClean="0">
                <a:solidFill>
                  <a:srgbClr val="000000"/>
                </a:solidFill>
                <a:effectLst/>
              </a:rPr>
              <a:pPr/>
              <a:t>1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+mn-cs"/>
            </a:endParaRPr>
          </a:p>
        </p:txBody>
      </p:sp>
      <p:sp>
        <p:nvSpPr>
          <p:cNvPr id="44" name="Text Placeholder 20">
            <a:extLst>
              <a:ext uri="{FF2B5EF4-FFF2-40B4-BE49-F238E27FC236}">
                <a16:creationId xmlns:a16="http://schemas.microsoft.com/office/drawing/2014/main" id="{6A83D82C-B1D5-4AA2-A71F-32AC5B3EDA32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7505700" y="5573713"/>
            <a:ext cx="203200" cy="109538"/>
          </a:xfrm>
          <a:prstGeom prst="rect">
            <a:avLst/>
          </a:prstGeom>
          <a:solidFill>
            <a:srgbClr val="969696"/>
          </a:solidFill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5A643CAC-0C11-4E6F-915A-46CBDC8814AB}" type="datetime'''''''''''''''''''''''''''''''''''1''''''''%'''''''''">
              <a:rPr lang="ru-RU" altLang="en-US" sz="800" smtClean="0">
                <a:solidFill>
                  <a:srgbClr val="000000"/>
                </a:solidFill>
                <a:effectLst/>
              </a:rPr>
              <a:pPr/>
              <a:t>1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+mn-cs"/>
            </a:endParaRPr>
          </a:p>
        </p:txBody>
      </p:sp>
      <p:sp>
        <p:nvSpPr>
          <p:cNvPr id="17" name="Text Placeholder 20">
            <a:extLst>
              <a:ext uri="{FF2B5EF4-FFF2-40B4-BE49-F238E27FC236}">
                <a16:creationId xmlns:a16="http://schemas.microsoft.com/office/drawing/2014/main" id="{5BADE223-9F02-4B25-BF97-5FBDB543E2B3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8572500" y="5580063"/>
            <a:ext cx="203200" cy="109538"/>
          </a:xfrm>
          <a:prstGeom prst="rect">
            <a:avLst/>
          </a:prstGeom>
          <a:solidFill>
            <a:srgbClr val="969696"/>
          </a:solidFill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A7876DE2-DBCE-4F69-9E08-2CFC3933665A}" type="datetime'''''''''''''''''''''''''''1%'''">
              <a:rPr lang="ru-RU" altLang="en-US" sz="800" smtClean="0">
                <a:solidFill>
                  <a:srgbClr val="000000"/>
                </a:solidFill>
                <a:effectLst/>
              </a:rPr>
              <a:pPr/>
              <a:t>1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+mn-cs"/>
            </a:endParaRPr>
          </a:p>
        </p:txBody>
      </p:sp>
      <p:sp>
        <p:nvSpPr>
          <p:cNvPr id="38" name="Text Placeholder 20">
            <a:extLst>
              <a:ext uri="{FF2B5EF4-FFF2-40B4-BE49-F238E27FC236}">
                <a16:creationId xmlns:a16="http://schemas.microsoft.com/office/drawing/2014/main" id="{BCEC2F62-0A49-47A6-945C-D1AF01F78DDD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8520113" y="5734050"/>
            <a:ext cx="307975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FC1119FA-B6DD-482F-AAFC-946F314262ED}" type="datetime'''Sma''ll''-''''''''''w''a''''''''''r''''''''e''''s'' 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Small-wares 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48" name="Text Placeholder 20">
            <a:extLst>
              <a:ext uri="{FF2B5EF4-FFF2-40B4-BE49-F238E27FC236}">
                <a16:creationId xmlns:a16="http://schemas.microsoft.com/office/drawing/2014/main" id="{9C10F961-6D3D-48C0-9AEC-9AB8DD177DCC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9107488" y="5586413"/>
            <a:ext cx="203200" cy="109538"/>
          </a:xfrm>
          <a:prstGeom prst="rect">
            <a:avLst/>
          </a:prstGeom>
          <a:solidFill>
            <a:srgbClr val="969696"/>
          </a:solidFill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6FC1DAB2-3A9B-4DE7-BECD-8E651CA863FB}" type="datetime'''''''''''''1''%'''''''''''''''''''''''''''''''''''''''''">
              <a:rPr lang="ru-RU" altLang="en-US" sz="800" smtClean="0">
                <a:solidFill>
                  <a:srgbClr val="000000"/>
                </a:solidFill>
                <a:effectLst/>
              </a:rPr>
              <a:pPr/>
              <a:t>1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+mn-cs"/>
            </a:endParaRPr>
          </a:p>
        </p:txBody>
      </p:sp>
      <p:sp>
        <p:nvSpPr>
          <p:cNvPr id="49" name="Text Placeholder 20">
            <a:extLst>
              <a:ext uri="{FF2B5EF4-FFF2-40B4-BE49-F238E27FC236}">
                <a16:creationId xmlns:a16="http://schemas.microsoft.com/office/drawing/2014/main" id="{EF81D1B9-36E9-4EB1-BC6E-81416A3A8F6B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9058275" y="5734050"/>
            <a:ext cx="301625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5A1CFD6F-F5CE-4771-AFEF-BA18EBA67E6B}" type="datetime'S''''''po''r''t''''s'' ''''''''g''''o''o''''''d''''''''''s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Sports good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A4FCCE50-E72D-478A-B943-99EF4A215963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9640888" y="5589588"/>
            <a:ext cx="203200" cy="109538"/>
          </a:xfrm>
          <a:prstGeom prst="rect">
            <a:avLst/>
          </a:prstGeom>
          <a:solidFill>
            <a:srgbClr val="969696"/>
          </a:solidFill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F2A90F7E-1196-4A28-B5AC-AF856E7EE0DC}" type="datetime'''''''''''''''''''''0''''''''''''''''''''''''''''''''%'">
              <a:rPr lang="ru-RU" altLang="en-US" sz="800" smtClean="0">
                <a:solidFill>
                  <a:srgbClr val="000000"/>
                </a:solidFill>
                <a:effectLst/>
              </a:rPr>
              <a:pPr/>
              <a:t>0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+mn-cs"/>
            </a:endParaRP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59C62CDD-E270-4B79-BED1-2E213D3A93C8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10174288" y="5589588"/>
            <a:ext cx="203200" cy="109538"/>
          </a:xfrm>
          <a:prstGeom prst="rect">
            <a:avLst/>
          </a:prstGeom>
          <a:solidFill>
            <a:srgbClr val="969696"/>
          </a:solidFill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B64EA99C-8415-464E-9667-310BEF1AEE47}" type="datetime'''''''''''''0''''''''%'''''''''''''''''''''''''''''''''''''''">
              <a:rPr lang="ru-RU" altLang="en-US" sz="800" smtClean="0">
                <a:solidFill>
                  <a:srgbClr val="000000"/>
                </a:solidFill>
                <a:effectLst/>
              </a:rPr>
              <a:pPr/>
              <a:t>0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+mn-cs"/>
            </a:endParaRP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48E030F1-C619-4DAA-B5BF-DE01DEFA632C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10064750" y="5734050"/>
            <a:ext cx="423863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563E5FB0-E298-44FA-A26B-FFE254F75B55}" type="datetime'''''F''''''''''oo''tw''''e''''''''''a''''''''''''''''r''''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Footwear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50" name="Text Placeholder 20">
            <a:extLst>
              <a:ext uri="{FF2B5EF4-FFF2-40B4-BE49-F238E27FC236}">
                <a16:creationId xmlns:a16="http://schemas.microsoft.com/office/drawing/2014/main" id="{D0179727-DA43-4BCE-813F-F9AAD039F647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10707688" y="5592763"/>
            <a:ext cx="203200" cy="109538"/>
          </a:xfrm>
          <a:prstGeom prst="rect">
            <a:avLst/>
          </a:prstGeom>
          <a:solidFill>
            <a:srgbClr val="969696"/>
          </a:solidFill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91A46395-380A-4017-9D4F-8BB9E0EADBB2}" type="datetime'''''''''''''''''''''''0''%'''''''''''''''''''''">
              <a:rPr lang="ru-RU" altLang="en-US" sz="800" smtClean="0">
                <a:solidFill>
                  <a:srgbClr val="000000"/>
                </a:solidFill>
                <a:effectLst/>
              </a:rPr>
              <a:pPr/>
              <a:t>0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+mn-cs"/>
            </a:endParaRPr>
          </a:p>
        </p:txBody>
      </p:sp>
      <p:sp>
        <p:nvSpPr>
          <p:cNvPr id="45" name="Text Placeholder 20">
            <a:extLst>
              <a:ext uri="{FF2B5EF4-FFF2-40B4-BE49-F238E27FC236}">
                <a16:creationId xmlns:a16="http://schemas.microsoft.com/office/drawing/2014/main" id="{65C90608-7EE0-4C02-A290-CECB6E647937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10561638" y="5734050"/>
            <a:ext cx="496888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D1CB8D81-4A34-4DF0-A6CA-F629F00BA1C8}" type="datetime'''''''U''''''''n''''d''e''''''''''''''rw''''''e''''a''''r''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Underwear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52" name="Text Placeholder 20">
            <a:extLst>
              <a:ext uri="{FF2B5EF4-FFF2-40B4-BE49-F238E27FC236}">
                <a16:creationId xmlns:a16="http://schemas.microsoft.com/office/drawing/2014/main" id="{52F23D2C-0A3D-4CB4-9816-817FB2427F4D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11241088" y="5594350"/>
            <a:ext cx="203200" cy="109538"/>
          </a:xfrm>
          <a:prstGeom prst="rect">
            <a:avLst/>
          </a:prstGeom>
          <a:solidFill>
            <a:srgbClr val="969696"/>
          </a:solidFill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320DA040-CE84-4704-8D52-1DB8CF5D628D}" type="datetime'''''''''''''''''''''''''''''''''0''''''''''''''''''%'''''''">
              <a:rPr lang="ru-RU" altLang="en-US" sz="800" smtClean="0">
                <a:solidFill>
                  <a:srgbClr val="000000"/>
                </a:solidFill>
                <a:effectLst/>
              </a:rPr>
              <a:pPr/>
              <a:t>0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+mn-cs"/>
            </a:endParaRPr>
          </a:p>
        </p:txBody>
      </p:sp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B75FA5F5-9757-4BE3-AC3C-73BEE3914D1E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1628775" y="4181475"/>
            <a:ext cx="219075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3D60240F-64E8-4A70-B8EB-DB76466FAAEF}" type="datetime'''''''''''''''''''5'''',''''''''''''''''''''''''''1'">
              <a:rPr lang="en-US" altLang="en-US" sz="9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5,1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40" name="Text Placeholder 20">
            <a:extLst>
              <a:ext uri="{FF2B5EF4-FFF2-40B4-BE49-F238E27FC236}">
                <a16:creationId xmlns:a16="http://schemas.microsoft.com/office/drawing/2014/main" id="{58C021B6-83B1-4C4E-B651-09AF009FC5CE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11020425" y="5734050"/>
            <a:ext cx="646113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0B6F9A3E-2183-45D4-ADFA-337167CDA459}" type="datetime'En''''ter''t''''''''a''''''inm''ent'''' p''roduct''''s''''''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Entertainment product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55" name="Text Placeholder 20">
            <a:extLst>
              <a:ext uri="{FF2B5EF4-FFF2-40B4-BE49-F238E27FC236}">
                <a16:creationId xmlns:a16="http://schemas.microsoft.com/office/drawing/2014/main" id="{76FD9A7A-4679-43F4-88E2-5137FA6F63D7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2695575" y="5237163"/>
            <a:ext cx="219075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B4DB942C-9DC1-4A8E-BA62-E977344464E9}" type="datetime'''''''1'''''''''''''''''''''''''''''''''''''',0'''''''''">
              <a:rPr lang="en-US" altLang="en-US" sz="9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,0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56" name="Text Placeholder 20">
            <a:extLst>
              <a:ext uri="{FF2B5EF4-FFF2-40B4-BE49-F238E27FC236}">
                <a16:creationId xmlns:a16="http://schemas.microsoft.com/office/drawing/2014/main" id="{784FCDE5-4625-4D9A-A6F4-9082DCC349AE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3763963" y="5313363"/>
            <a:ext cx="219075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1DA2A8F5-F8F0-4D4D-A124-9C9FA264A2CC}" type="datetime'''''''''''0'',''''''''''''''''''''''''''''''''''''''''7'''''''">
              <a:rPr lang="en-US" altLang="en-US" sz="9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0,7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57" name="Text Placeholder 20">
            <a:extLst>
              <a:ext uri="{FF2B5EF4-FFF2-40B4-BE49-F238E27FC236}">
                <a16:creationId xmlns:a16="http://schemas.microsoft.com/office/drawing/2014/main" id="{00F81985-A1A0-4268-8704-C10216A0925C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4830763" y="5387975"/>
            <a:ext cx="219075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9425AB73-4BA6-4F6F-867D-532BB5C9B257}" type="datetime'''''''''''''''''''''''''''''''''''''''''0'''''''''''''''',4'">
              <a:rPr lang="en-US" altLang="en-US" sz="9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0,4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1ADD73D4-F407-4910-B1FC-1C672280165C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5364163" y="5389563"/>
            <a:ext cx="219075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DB65E851-CBAB-43C8-A092-159296FBE434}" type="datetime'''''''''''''0'''''',''''''''''4'''''''''''''''''''''">
              <a:rPr lang="en-US" altLang="en-US" sz="9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0,4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65" name="Text Placeholder 20">
            <a:extLst>
              <a:ext uri="{FF2B5EF4-FFF2-40B4-BE49-F238E27FC236}">
                <a16:creationId xmlns:a16="http://schemas.microsoft.com/office/drawing/2014/main" id="{42BB237E-87CA-4F35-897A-FEC08CF3D587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6964363" y="5448300"/>
            <a:ext cx="219075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F1230E81-2166-480E-A75A-0A8408F28029}" type="datetime'''''''''''''''''0'',''''''''2'''''''''''''''">
              <a:rPr lang="en-US" altLang="en-US" sz="9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0,2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61" name="Text Placeholder 20">
            <a:extLst>
              <a:ext uri="{FF2B5EF4-FFF2-40B4-BE49-F238E27FC236}">
                <a16:creationId xmlns:a16="http://schemas.microsoft.com/office/drawing/2014/main" id="{A6FC2082-18E0-4C69-AB06-E340D01E3D42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7497763" y="5449888"/>
            <a:ext cx="219075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6BF65ABB-8F2D-426B-9641-FC9670570965}" type="datetime'''''0'''''''''''''',''''''''''''''2'''''''''''''''''''''''''">
              <a:rPr lang="en-US" altLang="en-US" sz="9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0,2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A297CEE8-8610-46E1-AF13-E4D816075EAE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8564563" y="5456238"/>
            <a:ext cx="219075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447041A2-2611-4ECF-A8CA-9CF4392D7293}" type="datetime'0'''''''''''''''''''''''''''''',''1'''">
              <a:rPr lang="en-US" altLang="en-US" sz="9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0,1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0" name="Text Placeholder 20">
            <a:extLst>
              <a:ext uri="{FF2B5EF4-FFF2-40B4-BE49-F238E27FC236}">
                <a16:creationId xmlns:a16="http://schemas.microsoft.com/office/drawing/2014/main" id="{25AA4C54-9C24-4106-B833-8163AF63B4F5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9099550" y="5462588"/>
            <a:ext cx="219075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0E11BFD9-5913-4DD1-9249-18C2F05CB300}" type="datetime'''''0'''''',''''''''''1'''''''''''''''''''">
              <a:rPr lang="en-US" altLang="en-US" sz="9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0,1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62" name="Text Placeholder 20">
            <a:extLst>
              <a:ext uri="{FF2B5EF4-FFF2-40B4-BE49-F238E27FC236}">
                <a16:creationId xmlns:a16="http://schemas.microsoft.com/office/drawing/2014/main" id="{C09C93CF-911C-49D5-89AD-312E0DF80208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11233150" y="5470525"/>
            <a:ext cx="219075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828955A9-805F-4A3F-AFAA-CDD7F0729AC3}" type="datetime'''''''''''0'''''''''''''',''''''''''0'">
              <a:rPr lang="en-US" altLang="en-US" sz="9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0,0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0FCC1F57-7927-4D13-89A6-F88A2F4B4C13}"/>
              </a:ext>
            </a:extLst>
          </p:cNvPr>
          <p:cNvSpPr txBox="1"/>
          <p:nvPr/>
        </p:nvSpPr>
        <p:spPr bwMode="gray">
          <a:xfrm>
            <a:off x="688185" y="1175657"/>
            <a:ext cx="11016135" cy="2481943"/>
          </a:xfrm>
          <a:prstGeom prst="rect">
            <a:avLst/>
          </a:prstGeom>
          <a:ln>
            <a:solidFill>
              <a:srgbClr val="797878"/>
            </a:solidFill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gnum offline sales in Non-Food product class by product group, (in million tenge)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F5554072-8CDD-4BE8-A23C-CCE4BF6E02A3}"/>
              </a:ext>
            </a:extLst>
          </p:cNvPr>
          <p:cNvSpPr txBox="1"/>
          <p:nvPr/>
        </p:nvSpPr>
        <p:spPr bwMode="gray">
          <a:xfrm>
            <a:off x="688185" y="3727450"/>
            <a:ext cx="11016135" cy="2543493"/>
          </a:xfrm>
          <a:prstGeom prst="rect">
            <a:avLst/>
          </a:prstGeom>
          <a:ln>
            <a:solidFill>
              <a:srgbClr val="797878"/>
            </a:solidFill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gnum online sales in Non-Food product class by product group, (in million tenge)</a:t>
            </a:r>
          </a:p>
        </p:txBody>
      </p:sp>
      <p:graphicFrame>
        <p:nvGraphicFramePr>
          <p:cNvPr id="134" name="Chart 133">
            <a:extLst>
              <a:ext uri="{FF2B5EF4-FFF2-40B4-BE49-F238E27FC236}">
                <a16:creationId xmlns:a16="http://schemas.microsoft.com/office/drawing/2014/main" id="{965EECA2-8912-440D-8F4B-F20C087F9114}"/>
              </a:ext>
            </a:extLst>
          </p:cNvPr>
          <p:cNvGraphicFramePr/>
          <p:nvPr>
            <p:custDataLst>
              <p:tags r:id="rId60"/>
            </p:custDataLst>
            <p:extLst>
              <p:ext uri="{D42A27DB-BD31-4B8C-83A1-F6EECF244321}">
                <p14:modId xmlns:p14="http://schemas.microsoft.com/office/powerpoint/2010/main" val="3386926332"/>
              </p:ext>
            </p:extLst>
          </p:nvPr>
        </p:nvGraphicFramePr>
        <p:xfrm>
          <a:off x="1390650" y="1673225"/>
          <a:ext cx="10302875" cy="1485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2"/>
          </a:graphicData>
        </a:graphic>
      </p:graphicFrame>
      <p:sp>
        <p:nvSpPr>
          <p:cNvPr id="76" name="Text Placeholder 20">
            <a:extLst>
              <a:ext uri="{FF2B5EF4-FFF2-40B4-BE49-F238E27FC236}">
                <a16:creationId xmlns:a16="http://schemas.microsoft.com/office/drawing/2014/main" id="{F495F4BB-85E6-43C5-BBD4-A9D386E2C705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2632075" y="3144838"/>
            <a:ext cx="346075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ACCF0BE8-6565-4696-8610-6B48547FB31E}" type="datetime'''''''''''''G''oods'''''' fo''r'''' ''''ki''''''''''ds''''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Goods for kid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20" name="Text Placeholder 20">
            <a:extLst>
              <a:ext uri="{FF2B5EF4-FFF2-40B4-BE49-F238E27FC236}">
                <a16:creationId xmlns:a16="http://schemas.microsoft.com/office/drawing/2014/main" id="{86F2BB48-4B8E-4C63-867E-8C800F0722FF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gray">
          <a:xfrm>
            <a:off x="8051800" y="2852738"/>
            <a:ext cx="1778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2AF46DD2-8645-4D3B-91F0-0E4AA32F0C2D}" type="datetime'''''7''''''''''''''''''''''''1'''''''''''''''''''''''''">
              <a:rPr lang="en-US" altLang="en-US" sz="9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71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72" name="Text Placeholder 20">
            <a:extLst>
              <a:ext uri="{FF2B5EF4-FFF2-40B4-BE49-F238E27FC236}">
                <a16:creationId xmlns:a16="http://schemas.microsoft.com/office/drawing/2014/main" id="{C34AAD97-E839-4710-B124-C6628449DC62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gray">
          <a:xfrm>
            <a:off x="1604963" y="2362200"/>
            <a:ext cx="26828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51B4F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50B54890-C643-4C4E-836B-B97B69A7DC9A}" type="datetime'''2''''''''''''''''''''''''''''''''''''6%'''">
              <a:rPr lang="ru-RU" altLang="en-US" sz="800" smtClean="0">
                <a:solidFill>
                  <a:srgbClr val="FFFFFF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26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74" name="Text Placeholder 20">
            <a:extLst>
              <a:ext uri="{FF2B5EF4-FFF2-40B4-BE49-F238E27FC236}">
                <a16:creationId xmlns:a16="http://schemas.microsoft.com/office/drawing/2014/main" id="{639023D9-6BBF-4C8A-96B9-A6CC1C48D1C4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1500188" y="3144838"/>
            <a:ext cx="476250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5BF7158E-21C1-4F3F-B442-9EA661C43431}" type="datetime'H''''''ou''se''''ho''l''''d p''r''''o''''''du''cts''''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Household product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75" name="Text Placeholder 20">
            <a:extLst>
              <a:ext uri="{FF2B5EF4-FFF2-40B4-BE49-F238E27FC236}">
                <a16:creationId xmlns:a16="http://schemas.microsoft.com/office/drawing/2014/main" id="{0114752E-0197-4F43-87C5-19DCBAD8E75D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2085975" y="3144838"/>
            <a:ext cx="371475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C054202C-A70F-48C6-A269-D6D3ACC139E9}" type="datetime'P''''a''rty'' ''s''''up''p''li''es'' &amp;c''''''''ra''ft''''s''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Party supplies &amp;craft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96" name="Text Placeholder 20">
            <a:extLst>
              <a:ext uri="{FF2B5EF4-FFF2-40B4-BE49-F238E27FC236}">
                <a16:creationId xmlns:a16="http://schemas.microsoft.com/office/drawing/2014/main" id="{DF80DA4B-08C2-46CF-987B-A387CB35C92B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gray">
          <a:xfrm>
            <a:off x="5905500" y="2949575"/>
            <a:ext cx="2032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902FFAF5-56B4-43EF-946E-8C194CA5E722}" type="datetime'''''''''''''''''''''''''''''''3''%'''''''''''''''''''''">
              <a:rPr lang="ru-RU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3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71" name="Text Placeholder 20">
            <a:extLst>
              <a:ext uri="{FF2B5EF4-FFF2-40B4-BE49-F238E27FC236}">
                <a16:creationId xmlns:a16="http://schemas.microsoft.com/office/drawing/2014/main" id="{D019CABF-ED37-4287-A568-3A8452AFA0CE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gray">
          <a:xfrm>
            <a:off x="2138363" y="2701925"/>
            <a:ext cx="26828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51B4F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5E16F96E-A443-4564-9C36-F4F8BA0189F8}" type="datetime'1''''''''''''''''''''''''''''''3''''''''''''''''''''''''%'''">
              <a:rPr lang="ru-RU" altLang="en-US" sz="800" smtClean="0">
                <a:solidFill>
                  <a:srgbClr val="FFFFFF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3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15" name="Text Placeholder 20">
            <a:extLst>
              <a:ext uri="{FF2B5EF4-FFF2-40B4-BE49-F238E27FC236}">
                <a16:creationId xmlns:a16="http://schemas.microsoft.com/office/drawing/2014/main" id="{681E4310-5690-4F47-A9B0-342BD7C884BC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11191875" y="3144838"/>
            <a:ext cx="301625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082736E9-C9BE-4268-8F6A-E620A34B424C}" type="datetime'''''S''''''p''''or''''t''s ''''g''''''''oo''''ds''''''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Sports good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92" name="Text Placeholder 20">
            <a:extLst>
              <a:ext uri="{FF2B5EF4-FFF2-40B4-BE49-F238E27FC236}">
                <a16:creationId xmlns:a16="http://schemas.microsoft.com/office/drawing/2014/main" id="{F593D440-1D15-436A-B87C-9C4DF1519B93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5237163" y="3144838"/>
            <a:ext cx="474663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9D41D4D6-1F43-47C4-BBB9-DD15687203BF}" type="datetime'Stat''''''''''i''''''o''''''n''ar''''''y'' ''p''''r''oducts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Stationary product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69" name="Text Placeholder 20">
            <a:extLst>
              <a:ext uri="{FF2B5EF4-FFF2-40B4-BE49-F238E27FC236}">
                <a16:creationId xmlns:a16="http://schemas.microsoft.com/office/drawing/2014/main" id="{8B9D57F3-F2B3-4888-A6D9-EB31E04A6CFA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gray">
          <a:xfrm>
            <a:off x="2671763" y="2719388"/>
            <a:ext cx="26828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51B4F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AFDC0D07-405B-4064-B8DF-A3014F52B47E}" type="datetime'''1''''''''''''''2''''''''''''''''''''''''''''%'''''''">
              <a:rPr lang="ru-RU" altLang="en-US" sz="800" smtClean="0">
                <a:solidFill>
                  <a:srgbClr val="FFFFFF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2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91" name="Text Placeholder 20">
            <a:extLst>
              <a:ext uri="{FF2B5EF4-FFF2-40B4-BE49-F238E27FC236}">
                <a16:creationId xmlns:a16="http://schemas.microsoft.com/office/drawing/2014/main" id="{96D4B2CA-C19E-4CDD-909E-3F881AFBE1F0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gray">
          <a:xfrm>
            <a:off x="5372100" y="2924175"/>
            <a:ext cx="2032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4C230439-8F4E-48CA-9AB3-CB26565705FB}" type="datetime'4''''''''''''''''''''''''''''''''%'''''''">
              <a:rPr lang="ru-RU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4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79" name="Text Placeholder 20">
            <a:extLst>
              <a:ext uri="{FF2B5EF4-FFF2-40B4-BE49-F238E27FC236}">
                <a16:creationId xmlns:a16="http://schemas.microsoft.com/office/drawing/2014/main" id="{5BE67EB0-FBF1-4DE0-9D21-66D8904E272C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gray">
          <a:xfrm>
            <a:off x="3236913" y="2828925"/>
            <a:ext cx="2032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51B4F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A910677B-1C60-4567-9469-2D3BAA309389}" type="datetime'8''''''''''''''''''''''''''''''''''''''''''%'">
              <a:rPr lang="ru-RU" altLang="en-US" sz="800" smtClean="0">
                <a:solidFill>
                  <a:srgbClr val="FFFFFF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8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04" name="Text Placeholder 20">
            <a:extLst>
              <a:ext uri="{FF2B5EF4-FFF2-40B4-BE49-F238E27FC236}">
                <a16:creationId xmlns:a16="http://schemas.microsoft.com/office/drawing/2014/main" id="{63F58222-E68A-4A1D-B867-F8FACFE55FCD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10620375" y="3144838"/>
            <a:ext cx="377825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A0C82CA5-150B-4095-95A4-EB0F0EA84DC7}" type="datetime'''''''''''''''''C''''l''ot''h''''''''i''n''g''''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Clothing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85" name="Text Placeholder 20">
            <a:extLst>
              <a:ext uri="{FF2B5EF4-FFF2-40B4-BE49-F238E27FC236}">
                <a16:creationId xmlns:a16="http://schemas.microsoft.com/office/drawing/2014/main" id="{845F5143-653A-46B1-ADE2-9FD701BEBF19}"/>
              </a:ext>
            </a:extLst>
          </p:cNvPr>
          <p:cNvSpPr>
            <a:spLocks noGrp="1"/>
          </p:cNvSpPr>
          <p:nvPr>
            <p:custDataLst>
              <p:tags r:id="rId74"/>
            </p:custDataLst>
          </p:nvPr>
        </p:nvSpPr>
        <p:spPr bwMode="gray">
          <a:xfrm>
            <a:off x="6438900" y="2965450"/>
            <a:ext cx="2032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ABAA65F8-9BC1-4A67-A880-01B8CC97A8A9}" type="datetime'''''''''''''''''2''''''%'''''''">
              <a:rPr lang="ru-RU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2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78" name="Text Placeholder 20">
            <a:extLst>
              <a:ext uri="{FF2B5EF4-FFF2-40B4-BE49-F238E27FC236}">
                <a16:creationId xmlns:a16="http://schemas.microsoft.com/office/drawing/2014/main" id="{453E3541-C112-4008-A772-9F9E6DDF3653}"/>
              </a:ext>
            </a:extLst>
          </p:cNvPr>
          <p:cNvSpPr>
            <a:spLocks noGrp="1"/>
          </p:cNvSpPr>
          <p:nvPr>
            <p:custDataLst>
              <p:tags r:id="rId75"/>
            </p:custDataLst>
          </p:nvPr>
        </p:nvSpPr>
        <p:spPr bwMode="auto">
          <a:xfrm>
            <a:off x="3094038" y="3144838"/>
            <a:ext cx="488950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D1EB305C-E367-489D-91AA-317FAB8DA516}" type="datetime'E''''''''''l''''''''ec''t''''''''''r''''''''''''''o''n''ics''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Electronic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80" name="Text Placeholder 20">
            <a:extLst>
              <a:ext uri="{FF2B5EF4-FFF2-40B4-BE49-F238E27FC236}">
                <a16:creationId xmlns:a16="http://schemas.microsoft.com/office/drawing/2014/main" id="{F50EDBCC-8245-426D-BFB9-2E7A774AA0F2}"/>
              </a:ext>
            </a:extLst>
          </p:cNvPr>
          <p:cNvSpPr>
            <a:spLocks noGrp="1"/>
          </p:cNvSpPr>
          <p:nvPr>
            <p:custDataLst>
              <p:tags r:id="rId76"/>
            </p:custDataLst>
          </p:nvPr>
        </p:nvSpPr>
        <p:spPr bwMode="gray">
          <a:xfrm>
            <a:off x="3771900" y="2860675"/>
            <a:ext cx="2032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51B4F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5DAA0B8E-F3AB-4504-B7F4-4B81040FA749}" type="datetime'''''''''6''''''''''''''''''''''%'''''''''''''">
              <a:rPr lang="ru-RU" altLang="en-US" sz="800" smtClean="0">
                <a:solidFill>
                  <a:srgbClr val="FFFFFF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6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14" name="Text Placeholder 20">
            <a:extLst>
              <a:ext uri="{FF2B5EF4-FFF2-40B4-BE49-F238E27FC236}">
                <a16:creationId xmlns:a16="http://schemas.microsoft.com/office/drawing/2014/main" id="{AB7E3328-B8D3-4D21-B8DB-A3E12DBF2F33}"/>
              </a:ext>
            </a:extLst>
          </p:cNvPr>
          <p:cNvSpPr>
            <a:spLocks noGrp="1"/>
          </p:cNvSpPr>
          <p:nvPr>
            <p:custDataLst>
              <p:tags r:id="rId77"/>
            </p:custDataLst>
          </p:nvPr>
        </p:nvSpPr>
        <p:spPr bwMode="gray">
          <a:xfrm>
            <a:off x="9653588" y="2857500"/>
            <a:ext cx="1778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5D51FCD8-7B34-4FD4-A56F-7468904406C5}" type="datetime'''6''''''''''''''''''''''''6'''''''''''">
              <a:rPr lang="en-US" altLang="en-US" sz="9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66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08" name="Text Placeholder 20">
            <a:extLst>
              <a:ext uri="{FF2B5EF4-FFF2-40B4-BE49-F238E27FC236}">
                <a16:creationId xmlns:a16="http://schemas.microsoft.com/office/drawing/2014/main" id="{AC72C9B0-1F2B-48A9-91A3-3BF374DC8D08}"/>
              </a:ext>
            </a:extLst>
          </p:cNvPr>
          <p:cNvSpPr>
            <a:spLocks noGrp="1"/>
          </p:cNvSpPr>
          <p:nvPr>
            <p:custDataLst>
              <p:tags r:id="rId78"/>
            </p:custDataLst>
          </p:nvPr>
        </p:nvSpPr>
        <p:spPr bwMode="auto">
          <a:xfrm>
            <a:off x="8434388" y="3144838"/>
            <a:ext cx="479425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A93A9870-B54F-4114-8F18-91B9C051A052}" type="datetime'''H''''ous''''e''''''''hold'' ''''a''pp''li''''ance''''''s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Household appliance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87" name="Text Placeholder 20">
            <a:extLst>
              <a:ext uri="{FF2B5EF4-FFF2-40B4-BE49-F238E27FC236}">
                <a16:creationId xmlns:a16="http://schemas.microsoft.com/office/drawing/2014/main" id="{2898E7BF-E5A7-485A-BE36-EB9EBE64BE56}"/>
              </a:ext>
            </a:extLst>
          </p:cNvPr>
          <p:cNvSpPr>
            <a:spLocks noGrp="1"/>
          </p:cNvSpPr>
          <p:nvPr>
            <p:custDataLst>
              <p:tags r:id="rId79"/>
            </p:custDataLst>
          </p:nvPr>
        </p:nvSpPr>
        <p:spPr bwMode="gray">
          <a:xfrm>
            <a:off x="4838700" y="2887663"/>
            <a:ext cx="2032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2EF98A27-5906-4BBA-9DFF-B508A85E3074}" type="datetime'''''''''''''''''''''''''''''''''''''5''''%'''''''''">
              <a:rPr lang="ru-RU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5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11" name="Text Placeholder 20">
            <a:extLst>
              <a:ext uri="{FF2B5EF4-FFF2-40B4-BE49-F238E27FC236}">
                <a16:creationId xmlns:a16="http://schemas.microsoft.com/office/drawing/2014/main" id="{83248C51-8947-4BD2-8BEE-349EE4D39737}"/>
              </a:ext>
            </a:extLst>
          </p:cNvPr>
          <p:cNvSpPr>
            <a:spLocks noGrp="1"/>
          </p:cNvSpPr>
          <p:nvPr>
            <p:custDataLst>
              <p:tags r:id="rId80"/>
            </p:custDataLst>
          </p:nvPr>
        </p:nvSpPr>
        <p:spPr bwMode="auto">
          <a:xfrm>
            <a:off x="3643313" y="3144838"/>
            <a:ext cx="460375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E415CDCE-849F-48F3-9BB9-751F5E29014B}" type="datetime'Ho''''''s''''i''''e''''ry an''''''d t''''''''ig''hts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Hosiery and tight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97" name="Text Placeholder 20">
            <a:extLst>
              <a:ext uri="{FF2B5EF4-FFF2-40B4-BE49-F238E27FC236}">
                <a16:creationId xmlns:a16="http://schemas.microsoft.com/office/drawing/2014/main" id="{4C50BBA7-28B1-43CA-AC1B-F382F2CB1F63}"/>
              </a:ext>
            </a:extLst>
          </p:cNvPr>
          <p:cNvSpPr>
            <a:spLocks noGrp="1"/>
          </p:cNvSpPr>
          <p:nvPr>
            <p:custDataLst>
              <p:tags r:id="rId81"/>
            </p:custDataLst>
          </p:nvPr>
        </p:nvSpPr>
        <p:spPr bwMode="gray">
          <a:xfrm>
            <a:off x="3748088" y="2605088"/>
            <a:ext cx="250825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F437CF13-3E34-4855-8949-8CA9C38E6B4D}" type="datetime'''''3''''''''0''7'''''''''''''''''''''''''''''''''''''''''''">
              <a:rPr lang="en-US" altLang="en-US" sz="9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307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83" name="Text Placeholder 20">
            <a:extLst>
              <a:ext uri="{FF2B5EF4-FFF2-40B4-BE49-F238E27FC236}">
                <a16:creationId xmlns:a16="http://schemas.microsoft.com/office/drawing/2014/main" id="{AF2ED739-89D4-44BE-9FDD-0174867ACF52}"/>
              </a:ext>
            </a:extLst>
          </p:cNvPr>
          <p:cNvSpPr>
            <a:spLocks noGrp="1"/>
          </p:cNvSpPr>
          <p:nvPr>
            <p:custDataLst>
              <p:tags r:id="rId82"/>
            </p:custDataLst>
          </p:nvPr>
        </p:nvSpPr>
        <p:spPr bwMode="gray">
          <a:xfrm>
            <a:off x="4305300" y="2874963"/>
            <a:ext cx="2032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51B4F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C59BE8BD-95E2-4AD3-8C73-D730CB4A93EC}" type="datetime'''''''''''''6''%'''''''''''''''''''''''''''''''''''''''''''''">
              <a:rPr lang="ru-RU" altLang="en-US" sz="800" smtClean="0">
                <a:solidFill>
                  <a:srgbClr val="FFFFFF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6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03" name="Text Placeholder 20">
            <a:extLst>
              <a:ext uri="{FF2B5EF4-FFF2-40B4-BE49-F238E27FC236}">
                <a16:creationId xmlns:a16="http://schemas.microsoft.com/office/drawing/2014/main" id="{D9ACA7C2-A683-44FE-9761-4D198E99EA4A}"/>
              </a:ext>
            </a:extLst>
          </p:cNvPr>
          <p:cNvSpPr>
            <a:spLocks noGrp="1"/>
          </p:cNvSpPr>
          <p:nvPr>
            <p:custDataLst>
              <p:tags r:id="rId83"/>
            </p:custDataLst>
          </p:nvPr>
        </p:nvSpPr>
        <p:spPr bwMode="gray">
          <a:xfrm>
            <a:off x="7505700" y="2984500"/>
            <a:ext cx="203200" cy="109538"/>
          </a:xfrm>
          <a:prstGeom prst="rect">
            <a:avLst/>
          </a:prstGeom>
          <a:solidFill>
            <a:srgbClr val="969696"/>
          </a:solidFill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1088789E-01F6-43B0-986A-340315AD23DE}" type="datetime'''''''''''''''''''''''''''''2''''''''''''''''''''''''%'''">
              <a:rPr lang="ru-RU" altLang="en-US" sz="800" smtClean="0">
                <a:solidFill>
                  <a:srgbClr val="000000"/>
                </a:solidFill>
                <a:effectLst/>
              </a:rPr>
              <a:pPr/>
              <a:t>2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+mn-cs"/>
            </a:endParaRPr>
          </a:p>
        </p:txBody>
      </p:sp>
      <p:sp>
        <p:nvSpPr>
          <p:cNvPr id="86" name="Text Placeholder 20">
            <a:extLst>
              <a:ext uri="{FF2B5EF4-FFF2-40B4-BE49-F238E27FC236}">
                <a16:creationId xmlns:a16="http://schemas.microsoft.com/office/drawing/2014/main" id="{417BE512-C46F-4F82-8056-DA2859570C42}"/>
              </a:ext>
            </a:extLst>
          </p:cNvPr>
          <p:cNvSpPr>
            <a:spLocks noGrp="1"/>
          </p:cNvSpPr>
          <p:nvPr>
            <p:custDataLst>
              <p:tags r:id="rId84"/>
            </p:custDataLst>
          </p:nvPr>
        </p:nvSpPr>
        <p:spPr bwMode="auto">
          <a:xfrm>
            <a:off x="4264025" y="3144838"/>
            <a:ext cx="287338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E1A66C0E-BF05-4EBF-8AFF-C96DF0A43337}" type="datetime'Home t''''''''''''ex''''''''ti''''''le''''''''''''''''''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Home textile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13" name="Text Placeholder 20">
            <a:extLst>
              <a:ext uri="{FF2B5EF4-FFF2-40B4-BE49-F238E27FC236}">
                <a16:creationId xmlns:a16="http://schemas.microsoft.com/office/drawing/2014/main" id="{ABD1C756-249C-4184-ADDA-4B6E1723C933}"/>
              </a:ext>
            </a:extLst>
          </p:cNvPr>
          <p:cNvSpPr>
            <a:spLocks noGrp="1"/>
          </p:cNvSpPr>
          <p:nvPr>
            <p:custDataLst>
              <p:tags r:id="rId85"/>
            </p:custDataLst>
          </p:nvPr>
        </p:nvSpPr>
        <p:spPr bwMode="gray">
          <a:xfrm>
            <a:off x="11241088" y="3005138"/>
            <a:ext cx="203200" cy="109538"/>
          </a:xfrm>
          <a:prstGeom prst="rect">
            <a:avLst/>
          </a:prstGeom>
          <a:solidFill>
            <a:srgbClr val="969696"/>
          </a:solidFill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ECE64C18-3532-41F0-B02C-94B29FEC61C0}" type="datetime'''''''''''''1''''''''%'''''''''''''''''''''''''''''''''''''">
              <a:rPr lang="ru-RU" altLang="en-US" sz="800" smtClean="0">
                <a:solidFill>
                  <a:srgbClr val="000000"/>
                </a:solidFill>
                <a:effectLst/>
              </a:rPr>
              <a:pPr/>
              <a:t>1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+mn-cs"/>
            </a:endParaRPr>
          </a:p>
        </p:txBody>
      </p:sp>
      <p:sp>
        <p:nvSpPr>
          <p:cNvPr id="88" name="Text Placeholder 20">
            <a:extLst>
              <a:ext uri="{FF2B5EF4-FFF2-40B4-BE49-F238E27FC236}">
                <a16:creationId xmlns:a16="http://schemas.microsoft.com/office/drawing/2014/main" id="{CDD583F9-720C-4CA7-943F-00846CBC86B7}"/>
              </a:ext>
            </a:extLst>
          </p:cNvPr>
          <p:cNvSpPr>
            <a:spLocks noGrp="1"/>
          </p:cNvSpPr>
          <p:nvPr>
            <p:custDataLst>
              <p:tags r:id="rId86"/>
            </p:custDataLst>
          </p:nvPr>
        </p:nvSpPr>
        <p:spPr bwMode="auto">
          <a:xfrm>
            <a:off x="4679950" y="3144838"/>
            <a:ext cx="520700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7C3B2587-1272-40BE-B01B-6AF085B84A2F}" type="datetime'''''''''''''A''''''u''t''omo''''t''''ive g''''o''''o''''ds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Automotive good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21" name="Text Placeholder 20">
            <a:extLst>
              <a:ext uri="{FF2B5EF4-FFF2-40B4-BE49-F238E27FC236}">
                <a16:creationId xmlns:a16="http://schemas.microsoft.com/office/drawing/2014/main" id="{F40D6F9F-DB12-47A4-A67D-B6151C06EF90}"/>
              </a:ext>
            </a:extLst>
          </p:cNvPr>
          <p:cNvSpPr>
            <a:spLocks noGrp="1"/>
          </p:cNvSpPr>
          <p:nvPr>
            <p:custDataLst>
              <p:tags r:id="rId87"/>
            </p:custDataLst>
          </p:nvPr>
        </p:nvSpPr>
        <p:spPr bwMode="gray">
          <a:xfrm>
            <a:off x="8585200" y="2854325"/>
            <a:ext cx="1778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B25E6C9A-0251-4A8B-8C5D-69078C468485}" type="datetime'''''''''''''''''''''''''7''''''''''''''''''0'''''''''''''''">
              <a:rPr lang="en-US" altLang="en-US" sz="9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70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98" name="Text Placeholder 20">
            <a:extLst>
              <a:ext uri="{FF2B5EF4-FFF2-40B4-BE49-F238E27FC236}">
                <a16:creationId xmlns:a16="http://schemas.microsoft.com/office/drawing/2014/main" id="{FDF17AE7-1A6E-440E-8F83-BB23EB29F16D}"/>
              </a:ext>
            </a:extLst>
          </p:cNvPr>
          <p:cNvSpPr>
            <a:spLocks noGrp="1"/>
          </p:cNvSpPr>
          <p:nvPr>
            <p:custDataLst>
              <p:tags r:id="rId88"/>
            </p:custDataLst>
          </p:nvPr>
        </p:nvSpPr>
        <p:spPr bwMode="auto">
          <a:xfrm>
            <a:off x="5853113" y="3144838"/>
            <a:ext cx="307975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511BA789-91B7-4EC1-BA41-C1453A733780}" type="datetime'''''''''S''''m''a''''''l''l''''''-''''wa''''''r''''e''s 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Small-wares 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00" name="Text Placeholder 20">
            <a:extLst>
              <a:ext uri="{FF2B5EF4-FFF2-40B4-BE49-F238E27FC236}">
                <a16:creationId xmlns:a16="http://schemas.microsoft.com/office/drawing/2014/main" id="{94A6E2C1-D1AD-4A5B-8538-688D1213F880}"/>
              </a:ext>
            </a:extLst>
          </p:cNvPr>
          <p:cNvSpPr>
            <a:spLocks noGrp="1"/>
          </p:cNvSpPr>
          <p:nvPr>
            <p:custDataLst>
              <p:tags r:id="rId89"/>
            </p:custDataLst>
          </p:nvPr>
        </p:nvSpPr>
        <p:spPr bwMode="gray">
          <a:xfrm>
            <a:off x="6972300" y="2967038"/>
            <a:ext cx="2032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B462A1A6-3F16-46DE-B0D7-3F93CD6F2225}" type="datetime'''''''''''''''''''''2''''''''''%'''''''''''''''''''''">
              <a:rPr lang="ru-RU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2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99" name="Text Placeholder 20">
            <a:extLst>
              <a:ext uri="{FF2B5EF4-FFF2-40B4-BE49-F238E27FC236}">
                <a16:creationId xmlns:a16="http://schemas.microsoft.com/office/drawing/2014/main" id="{1CDD3583-3295-47D5-9DD5-4791088BB8FF}"/>
              </a:ext>
            </a:extLst>
          </p:cNvPr>
          <p:cNvSpPr>
            <a:spLocks noGrp="1"/>
          </p:cNvSpPr>
          <p:nvPr>
            <p:custDataLst>
              <p:tags r:id="rId90"/>
            </p:custDataLst>
          </p:nvPr>
        </p:nvSpPr>
        <p:spPr bwMode="auto">
          <a:xfrm>
            <a:off x="6292850" y="3144838"/>
            <a:ext cx="496888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B9C777C0-C5C3-4B5D-8B72-A57AD9BAE634}" type="datetime'''''U''''''nd''e''''''''''rw''''''''''e''''a''r''''''''''''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Underwear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02" name="Text Placeholder 20">
            <a:extLst>
              <a:ext uri="{FF2B5EF4-FFF2-40B4-BE49-F238E27FC236}">
                <a16:creationId xmlns:a16="http://schemas.microsoft.com/office/drawing/2014/main" id="{6B60A0AD-A565-4C10-ABE5-D54DFF4449DA}"/>
              </a:ext>
            </a:extLst>
          </p:cNvPr>
          <p:cNvSpPr>
            <a:spLocks noGrp="1"/>
          </p:cNvSpPr>
          <p:nvPr>
            <p:custDataLst>
              <p:tags r:id="rId91"/>
            </p:custDataLst>
          </p:nvPr>
        </p:nvSpPr>
        <p:spPr bwMode="auto">
          <a:xfrm>
            <a:off x="6902450" y="3144838"/>
            <a:ext cx="342900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FEFA3AE1-CE3B-4E6F-968F-0C9A3624631F}" type="datetime'Ga''''''r''d''''''e''''''''n ''''''''''&amp; Too''''l''''''''''s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Garden &amp; Tool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70" name="Text Placeholder 20">
            <a:extLst>
              <a:ext uri="{FF2B5EF4-FFF2-40B4-BE49-F238E27FC236}">
                <a16:creationId xmlns:a16="http://schemas.microsoft.com/office/drawing/2014/main" id="{1D83FE10-74F7-43A5-8179-1F58FFD810EF}"/>
              </a:ext>
            </a:extLst>
          </p:cNvPr>
          <p:cNvSpPr>
            <a:spLocks noGrp="1"/>
          </p:cNvSpPr>
          <p:nvPr>
            <p:custDataLst>
              <p:tags r:id="rId92"/>
            </p:custDataLst>
          </p:nvPr>
        </p:nvSpPr>
        <p:spPr bwMode="auto">
          <a:xfrm>
            <a:off x="7396163" y="3144838"/>
            <a:ext cx="423863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F122BDB6-6136-49C0-A232-F889212D68E5}" type="datetime'''''''''''''F''''''''o''''''o''''''''t''''''''''we''''''ar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Footwear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05" name="Text Placeholder 20">
            <a:extLst>
              <a:ext uri="{FF2B5EF4-FFF2-40B4-BE49-F238E27FC236}">
                <a16:creationId xmlns:a16="http://schemas.microsoft.com/office/drawing/2014/main" id="{CFFCF166-1D8B-42C4-BCDA-C32B8D6F5697}"/>
              </a:ext>
            </a:extLst>
          </p:cNvPr>
          <p:cNvSpPr>
            <a:spLocks noGrp="1"/>
          </p:cNvSpPr>
          <p:nvPr>
            <p:custDataLst>
              <p:tags r:id="rId93"/>
            </p:custDataLst>
          </p:nvPr>
        </p:nvSpPr>
        <p:spPr bwMode="gray">
          <a:xfrm>
            <a:off x="8039100" y="2984500"/>
            <a:ext cx="203200" cy="109538"/>
          </a:xfrm>
          <a:prstGeom prst="rect">
            <a:avLst/>
          </a:prstGeom>
          <a:solidFill>
            <a:srgbClr val="969696"/>
          </a:solidFill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E84DA406-269A-474A-ACF4-DCC2A67D7C95}" type="datetime'''''''''''''''''''''''''1''''''''''''%'''">
              <a:rPr lang="ru-RU" altLang="en-US" sz="800" smtClean="0">
                <a:solidFill>
                  <a:srgbClr val="000000"/>
                </a:solidFill>
                <a:effectLst/>
              </a:rPr>
              <a:pPr/>
              <a:t>1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+mn-cs"/>
            </a:endParaRPr>
          </a:p>
        </p:txBody>
      </p:sp>
      <p:sp>
        <p:nvSpPr>
          <p:cNvPr id="101" name="Text Placeholder 20">
            <a:extLst>
              <a:ext uri="{FF2B5EF4-FFF2-40B4-BE49-F238E27FC236}">
                <a16:creationId xmlns:a16="http://schemas.microsoft.com/office/drawing/2014/main" id="{0BD01B1A-3EDC-4F16-ACA3-A3538F9DA5B9}"/>
              </a:ext>
            </a:extLst>
          </p:cNvPr>
          <p:cNvSpPr>
            <a:spLocks noGrp="1"/>
          </p:cNvSpPr>
          <p:nvPr>
            <p:custDataLst>
              <p:tags r:id="rId94"/>
            </p:custDataLst>
          </p:nvPr>
        </p:nvSpPr>
        <p:spPr bwMode="gray">
          <a:xfrm>
            <a:off x="7518400" y="2851150"/>
            <a:ext cx="1778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0745695B-57A3-443B-BC45-E8577F97BE34}" type="datetime'''''''''''''''''''''''''''7''''''''''''''''''2'">
              <a:rPr lang="en-US" altLang="en-US" sz="9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72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84" name="Text Placeholder 20">
            <a:extLst>
              <a:ext uri="{FF2B5EF4-FFF2-40B4-BE49-F238E27FC236}">
                <a16:creationId xmlns:a16="http://schemas.microsoft.com/office/drawing/2014/main" id="{314FFC2E-4DA5-4328-97E2-6B6DDC03E04C}"/>
              </a:ext>
            </a:extLst>
          </p:cNvPr>
          <p:cNvSpPr>
            <a:spLocks noGrp="1"/>
          </p:cNvSpPr>
          <p:nvPr>
            <p:custDataLst>
              <p:tags r:id="rId95"/>
            </p:custDataLst>
          </p:nvPr>
        </p:nvSpPr>
        <p:spPr bwMode="auto">
          <a:xfrm>
            <a:off x="7942263" y="3144838"/>
            <a:ext cx="398463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641FD671-C56F-42A7-931A-CCDC034544C8}" type="datetime'D''IY'''''''''''' pr''''''''''o''d''''''''u''ct''''s''''''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DIY product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25" name="Text Placeholder 20">
            <a:extLst>
              <a:ext uri="{FF2B5EF4-FFF2-40B4-BE49-F238E27FC236}">
                <a16:creationId xmlns:a16="http://schemas.microsoft.com/office/drawing/2014/main" id="{9F691243-9707-472B-A3FE-E29FAF4A22FA}"/>
              </a:ext>
            </a:extLst>
          </p:cNvPr>
          <p:cNvSpPr>
            <a:spLocks noGrp="1"/>
          </p:cNvSpPr>
          <p:nvPr>
            <p:custDataLst>
              <p:tags r:id="rId96"/>
            </p:custDataLst>
          </p:nvPr>
        </p:nvSpPr>
        <p:spPr bwMode="gray">
          <a:xfrm>
            <a:off x="5348288" y="2730500"/>
            <a:ext cx="250825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7A9EEE96-59A1-4B35-B908-DB24455AE185}" type="datetime'''''''''''''1''''''''''''''''''''8''''''''''''''''''''''''8'''">
              <a:rPr lang="en-US" altLang="en-US" sz="9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88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07" name="Text Placeholder 20">
            <a:extLst>
              <a:ext uri="{FF2B5EF4-FFF2-40B4-BE49-F238E27FC236}">
                <a16:creationId xmlns:a16="http://schemas.microsoft.com/office/drawing/2014/main" id="{C93147F8-7684-44D9-A633-342F5071438E}"/>
              </a:ext>
            </a:extLst>
          </p:cNvPr>
          <p:cNvSpPr>
            <a:spLocks noGrp="1"/>
          </p:cNvSpPr>
          <p:nvPr>
            <p:custDataLst>
              <p:tags r:id="rId97"/>
            </p:custDataLst>
          </p:nvPr>
        </p:nvSpPr>
        <p:spPr bwMode="gray">
          <a:xfrm>
            <a:off x="8572500" y="2986088"/>
            <a:ext cx="203200" cy="109538"/>
          </a:xfrm>
          <a:prstGeom prst="rect">
            <a:avLst/>
          </a:prstGeom>
          <a:solidFill>
            <a:srgbClr val="969696"/>
          </a:solidFill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D34DEA9E-0A6C-4841-BEAF-E352E362C105}" type="datetime'1''''''''''''''''''''''''''''''%'''''''">
              <a:rPr lang="ru-RU" altLang="en-US" sz="800" smtClean="0">
                <a:solidFill>
                  <a:srgbClr val="000000"/>
                </a:solidFill>
                <a:effectLst/>
              </a:rPr>
              <a:pPr/>
              <a:t>1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+mn-cs"/>
            </a:endParaRPr>
          </a:p>
        </p:txBody>
      </p:sp>
      <p:sp>
        <p:nvSpPr>
          <p:cNvPr id="73" name="Text Placeholder 20">
            <a:extLst>
              <a:ext uri="{FF2B5EF4-FFF2-40B4-BE49-F238E27FC236}">
                <a16:creationId xmlns:a16="http://schemas.microsoft.com/office/drawing/2014/main" id="{5622A650-873B-4AB2-9A03-C9390B20C43E}"/>
              </a:ext>
            </a:extLst>
          </p:cNvPr>
          <p:cNvSpPr>
            <a:spLocks noGrp="1"/>
          </p:cNvSpPr>
          <p:nvPr>
            <p:custDataLst>
              <p:tags r:id="rId98"/>
            </p:custDataLst>
          </p:nvPr>
        </p:nvSpPr>
        <p:spPr bwMode="gray">
          <a:xfrm>
            <a:off x="6948488" y="2816225"/>
            <a:ext cx="250825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01347629-4E69-42EF-81A9-C2C70ED4FFB2}" type="datetime'1''''''''''''''''''''''''''''''''0''''''''''''''''''7'">
              <a:rPr lang="en-US" altLang="en-US" sz="9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07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95" name="Text Placeholder 20">
            <a:extLst>
              <a:ext uri="{FF2B5EF4-FFF2-40B4-BE49-F238E27FC236}">
                <a16:creationId xmlns:a16="http://schemas.microsoft.com/office/drawing/2014/main" id="{702EF814-1578-4933-855E-10FF1943DF94}"/>
              </a:ext>
            </a:extLst>
          </p:cNvPr>
          <p:cNvSpPr>
            <a:spLocks noGrp="1"/>
          </p:cNvSpPr>
          <p:nvPr>
            <p:custDataLst>
              <p:tags r:id="rId99"/>
            </p:custDataLst>
          </p:nvPr>
        </p:nvSpPr>
        <p:spPr bwMode="auto">
          <a:xfrm>
            <a:off x="9420225" y="3144838"/>
            <a:ext cx="646113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09EB925D-D67E-4E1A-B8CD-2B42AD18F2F3}" type="datetime'''En''t''''e''r''t''''a''inme''nt p''ro''d''uc''''t''''''s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Entertainment product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77" name="Text Placeholder 20">
            <a:extLst>
              <a:ext uri="{FF2B5EF4-FFF2-40B4-BE49-F238E27FC236}">
                <a16:creationId xmlns:a16="http://schemas.microsoft.com/office/drawing/2014/main" id="{1F98BD69-6A43-437E-8506-6C0FAE2908FF}"/>
              </a:ext>
            </a:extLst>
          </p:cNvPr>
          <p:cNvSpPr>
            <a:spLocks noGrp="1"/>
          </p:cNvSpPr>
          <p:nvPr>
            <p:custDataLst>
              <p:tags r:id="rId100"/>
            </p:custDataLst>
          </p:nvPr>
        </p:nvSpPr>
        <p:spPr bwMode="gray">
          <a:xfrm>
            <a:off x="9107488" y="2986088"/>
            <a:ext cx="203200" cy="109538"/>
          </a:xfrm>
          <a:prstGeom prst="rect">
            <a:avLst/>
          </a:prstGeom>
          <a:solidFill>
            <a:srgbClr val="969696"/>
          </a:solidFill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3FEAABA7-A93A-4696-B781-9D081984538E}" type="datetime'''''''''''''''''''''''''''''''''''''''''''1''''''%'''''">
              <a:rPr lang="ru-RU" altLang="en-US" sz="800" smtClean="0">
                <a:solidFill>
                  <a:srgbClr val="000000"/>
                </a:solidFill>
                <a:effectLst/>
              </a:rPr>
              <a:pPr/>
              <a:t>1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+mn-cs"/>
            </a:endParaRPr>
          </a:p>
        </p:txBody>
      </p:sp>
      <p:sp>
        <p:nvSpPr>
          <p:cNvPr id="119" name="Text Placeholder 20">
            <a:extLst>
              <a:ext uri="{FF2B5EF4-FFF2-40B4-BE49-F238E27FC236}">
                <a16:creationId xmlns:a16="http://schemas.microsoft.com/office/drawing/2014/main" id="{F95BDFBC-2D48-40E2-968B-8E3C0F7B47ED}"/>
              </a:ext>
            </a:extLst>
          </p:cNvPr>
          <p:cNvSpPr>
            <a:spLocks noGrp="1"/>
          </p:cNvSpPr>
          <p:nvPr>
            <p:custDataLst>
              <p:tags r:id="rId101"/>
            </p:custDataLst>
          </p:nvPr>
        </p:nvSpPr>
        <p:spPr bwMode="gray">
          <a:xfrm>
            <a:off x="6415088" y="2813050"/>
            <a:ext cx="250825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B95938BC-D703-4CB6-B273-76A49090CA0E}" type="datetime'''''''1''''''''''0''''''''9'''''''''''''''''''">
              <a:rPr lang="en-US" altLang="en-US" sz="9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09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10" name="Text Placeholder 20">
            <a:extLst>
              <a:ext uri="{FF2B5EF4-FFF2-40B4-BE49-F238E27FC236}">
                <a16:creationId xmlns:a16="http://schemas.microsoft.com/office/drawing/2014/main" id="{C05E313E-CC61-45F9-944E-82E08D61C7ED}"/>
              </a:ext>
            </a:extLst>
          </p:cNvPr>
          <p:cNvSpPr>
            <a:spLocks noGrp="1"/>
          </p:cNvSpPr>
          <p:nvPr>
            <p:custDataLst>
              <p:tags r:id="rId102"/>
            </p:custDataLst>
          </p:nvPr>
        </p:nvSpPr>
        <p:spPr bwMode="auto">
          <a:xfrm>
            <a:off x="9007475" y="3144838"/>
            <a:ext cx="403225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77DCB550-41BF-4029-B268-F82EB1D6C68F}" type="datetime'To''''''''u''''''''r''''ism,'''''''''''''''''' pic''n''i''c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Tourism, picnic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81" name="Text Placeholder 20">
            <a:extLst>
              <a:ext uri="{FF2B5EF4-FFF2-40B4-BE49-F238E27FC236}">
                <a16:creationId xmlns:a16="http://schemas.microsoft.com/office/drawing/2014/main" id="{3A350666-99B3-4D46-B77C-3A0CDD67739F}"/>
              </a:ext>
            </a:extLst>
          </p:cNvPr>
          <p:cNvSpPr>
            <a:spLocks noGrp="1"/>
          </p:cNvSpPr>
          <p:nvPr>
            <p:custDataLst>
              <p:tags r:id="rId103"/>
            </p:custDataLst>
          </p:nvPr>
        </p:nvSpPr>
        <p:spPr bwMode="gray">
          <a:xfrm>
            <a:off x="10174288" y="2987675"/>
            <a:ext cx="203200" cy="109538"/>
          </a:xfrm>
          <a:prstGeom prst="rect">
            <a:avLst/>
          </a:prstGeom>
          <a:solidFill>
            <a:srgbClr val="969696"/>
          </a:solidFill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C29BA6E6-5232-4B57-9582-35BAAF552B4E}" type="datetime'1''''''%'''''''''''''''">
              <a:rPr lang="ru-RU" altLang="en-US" sz="800" smtClean="0">
                <a:solidFill>
                  <a:srgbClr val="000000"/>
                </a:solidFill>
                <a:effectLst/>
              </a:rPr>
              <a:pPr/>
              <a:t>1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+mn-cs"/>
            </a:endParaRPr>
          </a:p>
        </p:txBody>
      </p:sp>
      <p:sp>
        <p:nvSpPr>
          <p:cNvPr id="82" name="Text Placeholder 20">
            <a:extLst>
              <a:ext uri="{FF2B5EF4-FFF2-40B4-BE49-F238E27FC236}">
                <a16:creationId xmlns:a16="http://schemas.microsoft.com/office/drawing/2014/main" id="{B349E00E-6F5F-4500-BBDE-475BA4594967}"/>
              </a:ext>
            </a:extLst>
          </p:cNvPr>
          <p:cNvSpPr>
            <a:spLocks noGrp="1"/>
          </p:cNvSpPr>
          <p:nvPr>
            <p:custDataLst>
              <p:tags r:id="rId104"/>
            </p:custDataLst>
          </p:nvPr>
        </p:nvSpPr>
        <p:spPr bwMode="gray">
          <a:xfrm>
            <a:off x="9640888" y="2987675"/>
            <a:ext cx="203200" cy="109538"/>
          </a:xfrm>
          <a:prstGeom prst="rect">
            <a:avLst/>
          </a:prstGeom>
          <a:solidFill>
            <a:srgbClr val="969696"/>
          </a:solidFill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87840DC3-268F-4D31-B6A0-0F0F759D2FFE}" type="datetime'''''''''''''''''''''''''''''''''''1''''%'''''''''''''''">
              <a:rPr lang="ru-RU" altLang="en-US" sz="800" smtClean="0">
                <a:solidFill>
                  <a:srgbClr val="000000"/>
                </a:solidFill>
                <a:effectLst/>
              </a:rPr>
              <a:pPr/>
              <a:t>1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+mn-cs"/>
            </a:endParaRPr>
          </a:p>
        </p:txBody>
      </p:sp>
      <p:sp>
        <p:nvSpPr>
          <p:cNvPr id="118" name="Text Placeholder 20">
            <a:extLst>
              <a:ext uri="{FF2B5EF4-FFF2-40B4-BE49-F238E27FC236}">
                <a16:creationId xmlns:a16="http://schemas.microsoft.com/office/drawing/2014/main" id="{94ED30AA-B7AA-40B6-9D6C-F3D6410C213A}"/>
              </a:ext>
            </a:extLst>
          </p:cNvPr>
          <p:cNvSpPr>
            <a:spLocks noGrp="1"/>
          </p:cNvSpPr>
          <p:nvPr>
            <p:custDataLst>
              <p:tags r:id="rId105"/>
            </p:custDataLst>
          </p:nvPr>
        </p:nvSpPr>
        <p:spPr bwMode="auto">
          <a:xfrm>
            <a:off x="10077451" y="3144838"/>
            <a:ext cx="398463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D2894E42-2169-41D8-9E18-44C22E378A98}" type="datetime'''Bat''h,'''' ''''''s''auna'' pro''''''''d''''uc''''''''ts'''">
              <a:rPr lang="en-GB" altLang="en-US" sz="7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Bath, sauna product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06" name="Text Placeholder 20">
            <a:extLst>
              <a:ext uri="{FF2B5EF4-FFF2-40B4-BE49-F238E27FC236}">
                <a16:creationId xmlns:a16="http://schemas.microsoft.com/office/drawing/2014/main" id="{A5E277CF-D05F-4C21-883E-62638708E350}"/>
              </a:ext>
            </a:extLst>
          </p:cNvPr>
          <p:cNvSpPr>
            <a:spLocks noGrp="1"/>
          </p:cNvSpPr>
          <p:nvPr>
            <p:custDataLst>
              <p:tags r:id="rId106"/>
            </p:custDataLst>
          </p:nvPr>
        </p:nvSpPr>
        <p:spPr bwMode="gray">
          <a:xfrm>
            <a:off x="5881688" y="2781300"/>
            <a:ext cx="250825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C941684A-6156-4299-94AE-DA67BFC87B93}" type="datetime'''''''1''''''''''''''4''''''''''''''''''''''''''0'''''''''">
              <a:rPr lang="en-US" altLang="en-US" sz="9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40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12" name="Text Placeholder 20">
            <a:extLst>
              <a:ext uri="{FF2B5EF4-FFF2-40B4-BE49-F238E27FC236}">
                <a16:creationId xmlns:a16="http://schemas.microsoft.com/office/drawing/2014/main" id="{E90BE516-9C16-4C10-B0EF-83C0FD747DF9}"/>
              </a:ext>
            </a:extLst>
          </p:cNvPr>
          <p:cNvSpPr>
            <a:spLocks noGrp="1"/>
          </p:cNvSpPr>
          <p:nvPr>
            <p:custDataLst>
              <p:tags r:id="rId107"/>
            </p:custDataLst>
          </p:nvPr>
        </p:nvSpPr>
        <p:spPr bwMode="gray">
          <a:xfrm>
            <a:off x="10707688" y="2997200"/>
            <a:ext cx="203200" cy="109538"/>
          </a:xfrm>
          <a:prstGeom prst="rect">
            <a:avLst/>
          </a:prstGeom>
          <a:solidFill>
            <a:srgbClr val="969696"/>
          </a:solidFill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2006E6D0-6F1B-48EA-9AB7-08162FD48E0C}" type="datetime'''''''''''''1''''''''''''''''''''%'''''''">
              <a:rPr lang="ru-RU" altLang="en-US" sz="800" smtClean="0">
                <a:solidFill>
                  <a:srgbClr val="000000"/>
                </a:solidFill>
                <a:effectLst/>
              </a:rPr>
              <a:pPr/>
              <a:t>1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+mn-cs"/>
            </a:endParaRPr>
          </a:p>
        </p:txBody>
      </p:sp>
      <p:sp>
        <p:nvSpPr>
          <p:cNvPr id="93" name="Text Placeholder 20">
            <a:extLst>
              <a:ext uri="{FF2B5EF4-FFF2-40B4-BE49-F238E27FC236}">
                <a16:creationId xmlns:a16="http://schemas.microsoft.com/office/drawing/2014/main" id="{1ED490B4-945E-4F02-B14F-49403ACC9375}"/>
              </a:ext>
            </a:extLst>
          </p:cNvPr>
          <p:cNvSpPr>
            <a:spLocks noGrp="1"/>
          </p:cNvSpPr>
          <p:nvPr>
            <p:custDataLst>
              <p:tags r:id="rId108"/>
            </p:custDataLst>
          </p:nvPr>
        </p:nvSpPr>
        <p:spPr bwMode="gray">
          <a:xfrm>
            <a:off x="10186988" y="2859088"/>
            <a:ext cx="1778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FE0C646D-758A-495B-9664-CD36E96EDC80}" type="datetime'''''''''6''''''''''''''''''''''''''''''''''''5'''''''''''''">
              <a:rPr lang="en-US" altLang="en-US" sz="9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65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16" name="Text Placeholder 20">
            <a:extLst>
              <a:ext uri="{FF2B5EF4-FFF2-40B4-BE49-F238E27FC236}">
                <a16:creationId xmlns:a16="http://schemas.microsoft.com/office/drawing/2014/main" id="{6D3539B8-3871-4F9D-A20B-9FED9E2435FA}"/>
              </a:ext>
            </a:extLst>
          </p:cNvPr>
          <p:cNvSpPr>
            <a:spLocks noGrp="1"/>
          </p:cNvSpPr>
          <p:nvPr>
            <p:custDataLst>
              <p:tags r:id="rId109"/>
            </p:custDataLst>
          </p:nvPr>
        </p:nvSpPr>
        <p:spPr bwMode="gray">
          <a:xfrm>
            <a:off x="2146300" y="2287588"/>
            <a:ext cx="250825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1DDD430A-52CA-41F0-B028-D490225DFFE0}" type="datetime'''''''6''''''''''''''''1''2'''''''''''''''''''''''''''''''''''">
              <a:rPr lang="en-US" altLang="en-US" sz="9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612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09" name="Text Placeholder 20">
            <a:extLst>
              <a:ext uri="{FF2B5EF4-FFF2-40B4-BE49-F238E27FC236}">
                <a16:creationId xmlns:a16="http://schemas.microsoft.com/office/drawing/2014/main" id="{2D3A62DA-5BE3-4DC2-B900-87FC279A5E0A}"/>
              </a:ext>
            </a:extLst>
          </p:cNvPr>
          <p:cNvSpPr>
            <a:spLocks noGrp="1"/>
          </p:cNvSpPr>
          <p:nvPr>
            <p:custDataLst>
              <p:tags r:id="rId110"/>
            </p:custDataLst>
          </p:nvPr>
        </p:nvSpPr>
        <p:spPr bwMode="gray">
          <a:xfrm>
            <a:off x="1557338" y="1606550"/>
            <a:ext cx="363538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94A6BED8-5D0A-4BC5-B4CC-3032ED70C0E0}" type="datetime'1'''''''''''' ''''''''''2''6''''''''''''''''''''''2'''''''">
              <a:rPr lang="en-US" altLang="en-US" sz="9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 262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17" name="Text Placeholder 20">
            <a:extLst>
              <a:ext uri="{FF2B5EF4-FFF2-40B4-BE49-F238E27FC236}">
                <a16:creationId xmlns:a16="http://schemas.microsoft.com/office/drawing/2014/main" id="{DB96F69E-F62E-4946-890E-F5008AFAF876}"/>
              </a:ext>
            </a:extLst>
          </p:cNvPr>
          <p:cNvSpPr>
            <a:spLocks noGrp="1"/>
          </p:cNvSpPr>
          <p:nvPr>
            <p:custDataLst>
              <p:tags r:id="rId111"/>
            </p:custDataLst>
          </p:nvPr>
        </p:nvSpPr>
        <p:spPr bwMode="gray">
          <a:xfrm>
            <a:off x="3213100" y="2541588"/>
            <a:ext cx="250825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41FA64C0-4E6D-4881-847F-4B25AC2D4BAB}" type="datetime'''''''3''''''''''''''''''''''''''6''''''''''''''''9'''''">
              <a:rPr lang="en-US" altLang="en-US" sz="9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369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90" name="Text Placeholder 20">
            <a:extLst>
              <a:ext uri="{FF2B5EF4-FFF2-40B4-BE49-F238E27FC236}">
                <a16:creationId xmlns:a16="http://schemas.microsoft.com/office/drawing/2014/main" id="{27C063E4-C3E7-44F6-8ECC-3A454BCCE36F}"/>
              </a:ext>
            </a:extLst>
          </p:cNvPr>
          <p:cNvSpPr>
            <a:spLocks noGrp="1"/>
          </p:cNvSpPr>
          <p:nvPr>
            <p:custDataLst>
              <p:tags r:id="rId112"/>
            </p:custDataLst>
          </p:nvPr>
        </p:nvSpPr>
        <p:spPr bwMode="gray">
          <a:xfrm>
            <a:off x="4281488" y="2632075"/>
            <a:ext cx="250825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DF29219E-80B0-4B12-8952-D4BA8F9C8049}" type="datetime'''''''''''''''''''2''''''''''''''''8''''''''''3'''''''">
              <a:rPr lang="en-US" altLang="en-US" sz="9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283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22" name="Text Placeholder 20">
            <a:extLst>
              <a:ext uri="{FF2B5EF4-FFF2-40B4-BE49-F238E27FC236}">
                <a16:creationId xmlns:a16="http://schemas.microsoft.com/office/drawing/2014/main" id="{A4BB3033-03AB-4011-96E6-7945C3592D03}"/>
              </a:ext>
            </a:extLst>
          </p:cNvPr>
          <p:cNvSpPr>
            <a:spLocks noGrp="1"/>
          </p:cNvSpPr>
          <p:nvPr>
            <p:custDataLst>
              <p:tags r:id="rId113"/>
            </p:custDataLst>
          </p:nvPr>
        </p:nvSpPr>
        <p:spPr bwMode="gray">
          <a:xfrm>
            <a:off x="9120188" y="2855913"/>
            <a:ext cx="1778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00962B26-8256-438C-A4E3-B946E13CB47F}" type="datetime'''''''''''''''''''''6''''''''9'''''''''''''''''''''''''''''">
              <a:rPr lang="en-US" altLang="en-US" sz="9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69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89" name="Text Placeholder 20">
            <a:extLst>
              <a:ext uri="{FF2B5EF4-FFF2-40B4-BE49-F238E27FC236}">
                <a16:creationId xmlns:a16="http://schemas.microsoft.com/office/drawing/2014/main" id="{9589F583-98FD-48B0-B4B1-6E2D37EA5AAF}"/>
              </a:ext>
            </a:extLst>
          </p:cNvPr>
          <p:cNvSpPr>
            <a:spLocks noGrp="1"/>
          </p:cNvSpPr>
          <p:nvPr>
            <p:custDataLst>
              <p:tags r:id="rId114"/>
            </p:custDataLst>
          </p:nvPr>
        </p:nvSpPr>
        <p:spPr bwMode="gray">
          <a:xfrm>
            <a:off x="4814888" y="2659063"/>
            <a:ext cx="250825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FBD7FDF2-E1B9-4137-8DD2-690837754DEB}" type="datetime'''''''''''''''''''2''''''5''''''''''''''''''''''''''''''6'">
              <a:rPr lang="en-US" altLang="en-US" sz="9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256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23" name="Text Placeholder 20">
            <a:extLst>
              <a:ext uri="{FF2B5EF4-FFF2-40B4-BE49-F238E27FC236}">
                <a16:creationId xmlns:a16="http://schemas.microsoft.com/office/drawing/2014/main" id="{E5894219-048E-4A94-B90F-4736ABF185A0}"/>
              </a:ext>
            </a:extLst>
          </p:cNvPr>
          <p:cNvSpPr>
            <a:spLocks noGrp="1"/>
          </p:cNvSpPr>
          <p:nvPr>
            <p:custDataLst>
              <p:tags r:id="rId115"/>
            </p:custDataLst>
          </p:nvPr>
        </p:nvSpPr>
        <p:spPr bwMode="gray">
          <a:xfrm>
            <a:off x="10720388" y="2873375"/>
            <a:ext cx="1778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CEEC02CA-A18C-42B9-A863-F171B3CA842E}" type="datetime'''''''''''''''4''''''''''''''''''''''''''''''''''''''''8'">
              <a:rPr lang="en-US" altLang="en-US" sz="9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48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24" name="Text Placeholder 20">
            <a:extLst>
              <a:ext uri="{FF2B5EF4-FFF2-40B4-BE49-F238E27FC236}">
                <a16:creationId xmlns:a16="http://schemas.microsoft.com/office/drawing/2014/main" id="{9CF6FC25-B3FA-46AC-B7DF-B37FE60ACD11}"/>
              </a:ext>
            </a:extLst>
          </p:cNvPr>
          <p:cNvSpPr>
            <a:spLocks noGrp="1"/>
          </p:cNvSpPr>
          <p:nvPr>
            <p:custDataLst>
              <p:tags r:id="rId116"/>
            </p:custDataLst>
          </p:nvPr>
        </p:nvSpPr>
        <p:spPr bwMode="gray">
          <a:xfrm>
            <a:off x="11253788" y="2881313"/>
            <a:ext cx="1778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FFD4B88E-DDE4-4B0D-805B-439C34FA2102}" type="datetime'''''''''''''''''33'''''''''''''''">
              <a:rPr lang="en-US" altLang="en-US" sz="9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33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94" name="Text Placeholder 20">
            <a:extLst>
              <a:ext uri="{FF2B5EF4-FFF2-40B4-BE49-F238E27FC236}">
                <a16:creationId xmlns:a16="http://schemas.microsoft.com/office/drawing/2014/main" id="{2DD7871C-D5B9-439D-842E-E3C83E0A3043}"/>
              </a:ext>
            </a:extLst>
          </p:cNvPr>
          <p:cNvSpPr>
            <a:spLocks noGrp="1"/>
          </p:cNvSpPr>
          <p:nvPr>
            <p:custDataLst>
              <p:tags r:id="rId117"/>
            </p:custDataLst>
          </p:nvPr>
        </p:nvSpPr>
        <p:spPr bwMode="gray">
          <a:xfrm>
            <a:off x="2679700" y="2322513"/>
            <a:ext cx="250825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697B69FC-99B8-4349-B440-895D9422FA88}" type="datetime'''''''''''''''5''7''''''''''''8'''''''''''''''''''''''''''">
              <a:rPr lang="en-US" altLang="en-US" sz="9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578</a:t>
            </a:fld>
            <a:endParaRPr kumimoji="0" lang="ru-RU" sz="9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1BFDFD21-2838-47CF-AEFC-B34BBB4B456D}"/>
              </a:ext>
            </a:extLst>
          </p:cNvPr>
          <p:cNvSpPr/>
          <p:nvPr/>
        </p:nvSpPr>
        <p:spPr>
          <a:xfrm>
            <a:off x="10588627" y="1267738"/>
            <a:ext cx="1012447" cy="391200"/>
          </a:xfrm>
          <a:prstGeom prst="rect">
            <a:avLst/>
          </a:prstGeom>
          <a:solidFill>
            <a:srgbClr val="B51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KZ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≈</a:t>
            </a: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70%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f sales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5768DFDE-C254-4BBD-B51F-06DEE26DC9E6}"/>
              </a:ext>
            </a:extLst>
          </p:cNvPr>
          <p:cNvSpPr/>
          <p:nvPr/>
        </p:nvSpPr>
        <p:spPr>
          <a:xfrm>
            <a:off x="10546726" y="3846513"/>
            <a:ext cx="1012447" cy="391200"/>
          </a:xfrm>
          <a:prstGeom prst="rect">
            <a:avLst/>
          </a:prstGeom>
          <a:solidFill>
            <a:srgbClr val="B51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KZ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≈</a:t>
            </a: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70%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f sales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F444F795-D41E-4984-844E-4619DF4B534C}"/>
              </a:ext>
            </a:extLst>
          </p:cNvPr>
          <p:cNvSpPr txBox="1"/>
          <p:nvPr/>
        </p:nvSpPr>
        <p:spPr bwMode="gray">
          <a:xfrm>
            <a:off x="850213" y="1652585"/>
            <a:ext cx="647199" cy="19367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ales</a:t>
            </a:r>
            <a:endParaRPr kumimoji="0" lang="ru-RU" sz="7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40CBF101-D07C-4038-950A-937AD26A78DC}"/>
              </a:ext>
            </a:extLst>
          </p:cNvPr>
          <p:cNvSpPr txBox="1"/>
          <p:nvPr/>
        </p:nvSpPr>
        <p:spPr bwMode="gray">
          <a:xfrm>
            <a:off x="841418" y="2338388"/>
            <a:ext cx="647199" cy="27463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hare of total sales, %</a:t>
            </a:r>
            <a:endParaRPr kumimoji="0" lang="ru-RU" sz="7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CD498171-911E-48FC-9DCD-0D0E30BA0E81}"/>
              </a:ext>
            </a:extLst>
          </p:cNvPr>
          <p:cNvSpPr txBox="1"/>
          <p:nvPr/>
        </p:nvSpPr>
        <p:spPr bwMode="gray">
          <a:xfrm>
            <a:off x="854786" y="4883151"/>
            <a:ext cx="647199" cy="27463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hare of total sales, %</a:t>
            </a:r>
            <a:endParaRPr kumimoji="0" lang="ru-RU" sz="7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1CD1EF0C-DB60-4921-B92E-E6D539701A55}"/>
              </a:ext>
            </a:extLst>
          </p:cNvPr>
          <p:cNvSpPr txBox="1"/>
          <p:nvPr/>
        </p:nvSpPr>
        <p:spPr bwMode="gray">
          <a:xfrm>
            <a:off x="850213" y="4181475"/>
            <a:ext cx="647199" cy="19367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ales</a:t>
            </a:r>
            <a:endParaRPr kumimoji="0" lang="ru-RU" sz="7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7E333E1-05E4-4D14-ACDA-9E73D9E730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6D2641-81B4-4FA9-AABA-CD0BE301EB4F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113513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9FBDCD-8AFA-4187-9760-F291DAA622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77744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1" imgW="378" imgH="377" progId="TCLayout.ActiveDocument.1">
                  <p:embed/>
                </p:oleObj>
              </mc:Choice>
              <mc:Fallback>
                <p:oleObj name="think-cell Slide" r:id="rId71" imgW="378" imgH="37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9FBDCD-8AFA-4187-9760-F291DAA622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D8FAFC92-18B7-49DE-AAC3-D2B7F9C3702B}"/>
              </a:ext>
            </a:extLst>
          </p:cNvPr>
          <p:cNvSpPr txBox="1"/>
          <p:nvPr/>
        </p:nvSpPr>
        <p:spPr>
          <a:xfrm>
            <a:off x="688185" y="556502"/>
            <a:ext cx="7410786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ITC Avant Garde Pro Md" panose="020B0602020202020204" pitchFamily="34" charset="0"/>
              </a:rPr>
              <a:t>Offline vs. Online sales in In-house product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1BB43B2-8756-4C3E-93B0-253FACE8C63F}"/>
              </a:ext>
            </a:extLst>
          </p:cNvPr>
          <p:cNvSpPr txBox="1"/>
          <p:nvPr/>
        </p:nvSpPr>
        <p:spPr>
          <a:xfrm>
            <a:off x="788122" y="3919931"/>
            <a:ext cx="20378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ITC Avant Garde Pro Bk" panose="020B0502020202020204" pitchFamily="34" charset="0"/>
              </a:rPr>
              <a:t>Offline vs. Onlin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3C7766D-E193-4077-80FA-33056F2BB974}"/>
              </a:ext>
            </a:extLst>
          </p:cNvPr>
          <p:cNvCxnSpPr>
            <a:cxnSpLocks/>
          </p:cNvCxnSpPr>
          <p:nvPr/>
        </p:nvCxnSpPr>
        <p:spPr>
          <a:xfrm>
            <a:off x="688185" y="1082000"/>
            <a:ext cx="1101613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8" name="Chart 87">
            <a:extLst>
              <a:ext uri="{FF2B5EF4-FFF2-40B4-BE49-F238E27FC236}">
                <a16:creationId xmlns:a16="http://schemas.microsoft.com/office/drawing/2014/main" id="{AFA12CA3-4FFB-4DD0-8ACB-DD50C7D5CCF4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0516620"/>
              </p:ext>
            </p:extLst>
          </p:nvPr>
        </p:nvGraphicFramePr>
        <p:xfrm>
          <a:off x="1314450" y="4214813"/>
          <a:ext cx="10320338" cy="1758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3"/>
          </a:graphicData>
        </a:graphic>
      </p:graphicFrame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ADFA5528-3B92-46AD-BD81-A7BF26B41647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7296150" y="5826125"/>
            <a:ext cx="203200" cy="109538"/>
          </a:xfrm>
          <a:prstGeom prst="rect">
            <a:avLst/>
          </a:prstGeom>
          <a:solidFill>
            <a:srgbClr val="969696"/>
          </a:solidFill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0A553787-FA6A-4269-9159-8778058D3589}" type="datetime'''''''''''''''''''''''''''''''''''''''1''''%'''''''">
              <a:rPr lang="ru-RU" altLang="en-US" sz="800" smtClean="0">
                <a:solidFill>
                  <a:srgbClr val="000000"/>
                </a:solidFill>
                <a:effectLst/>
              </a:rPr>
              <a:pPr/>
              <a:t>1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+mn-cs"/>
            </a:endParaRP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746F9F68-87FE-47B7-AFCD-827204FC2687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725613" y="5040313"/>
            <a:ext cx="26828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7113DF47-B646-4763-BF8D-0DA563E119E3}" type="datetime'''''''''8''''''''''''''''0''%'''">
              <a:rPr lang="ru-RU" altLang="en-US" sz="800" smtClean="0">
                <a:solidFill>
                  <a:srgbClr val="FFFFFF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80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4E0B1A2C-138F-40A2-BEA2-9A40E98275B4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490663" y="5980113"/>
            <a:ext cx="7366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5B8D52C3-EDB8-4EAA-8EB4-9CBB00455B75}" type="datetime'''''''M''ea''t ''''''''''''p''rodu''''''''c''''''''t''''s'">
              <a:rPr lang="en-GB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Meat products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EA36DCDF-FE4F-40FA-A324-7A22349A194C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679700" y="5778500"/>
            <a:ext cx="2032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7346CEE5-8288-47BB-8081-85CCB08FF5D1}" type="datetime'6''''''''''%'''''''''''''''''''''''''''''''''''''''''''">
              <a:rPr lang="ru-RU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6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2BE02D26-3316-49F8-A26B-CABB9F4CC1FC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598738" y="5980113"/>
            <a:ext cx="36671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27F08FDB-8293-40B5-99C3-E3276F67DE5E}" type="datetime'''B''''''''''''''a''''''''''''''''''''''''''''ker''y'''''''''">
              <a:rPr lang="en-GB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Bakery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2E45ED1C-0634-4AF3-A0EE-B03A3F609FB6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454525" y="5980113"/>
            <a:ext cx="34766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B4ABC773-3136-4100-A2D6-09C43581B580}" type="datetime'''''''''''S''''''''''a''''l''a''''d''''s'''''''''">
              <a:rPr lang="en-GB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Salads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B1AD38C9-6EC0-47C5-B9A8-A483ADA99635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2660650" y="5611813"/>
            <a:ext cx="2428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D197BB50-256C-4A3C-9110-87F14DC08961}" type="datetime'''''''''''''2'''''''''''''''',''''''''''0'''''">
              <a:rPr lang="en-US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2,0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93BD0A79-6465-4823-B376-6FD4D8CB27A7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3603625" y="5784850"/>
            <a:ext cx="2032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6602DCB9-500F-457A-8D78-0DFEC0F69D59}" type="datetime'''''''5''''''''''''''''''''''''''''%'''''">
              <a:rPr lang="ru-RU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5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20" name="Text Placeholder 20">
            <a:extLst>
              <a:ext uri="{FF2B5EF4-FFF2-40B4-BE49-F238E27FC236}">
                <a16:creationId xmlns:a16="http://schemas.microsoft.com/office/drawing/2014/main" id="{4686E58F-D0F1-4EC9-A30A-654BB1FA3C63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489325" y="5980113"/>
            <a:ext cx="4318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CA716385-3593-4184-BC6C-64791C253956}" type="datetime'''C''''''''''''''oo''''''''''k''''''e''''r''''''''y'''''''">
              <a:rPr lang="en-GB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Cookery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29" name="Text Placeholder 20">
            <a:extLst>
              <a:ext uri="{FF2B5EF4-FFF2-40B4-BE49-F238E27FC236}">
                <a16:creationId xmlns:a16="http://schemas.microsoft.com/office/drawing/2014/main" id="{A43C907B-B9D2-4956-AE53-D35C60E60EA9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9142413" y="5837238"/>
            <a:ext cx="203200" cy="109538"/>
          </a:xfrm>
          <a:prstGeom prst="rect">
            <a:avLst/>
          </a:prstGeom>
          <a:solidFill>
            <a:srgbClr val="969696"/>
          </a:solidFill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D7336DCD-48E9-4ADA-A6E4-4C3953FE0ECB}" type="datetime'''''''0''''''''''''''''''''''''''''%'''''''">
              <a:rPr lang="ru-RU" altLang="en-US" sz="800" smtClean="0">
                <a:solidFill>
                  <a:srgbClr val="000000"/>
                </a:solidFill>
                <a:effectLst/>
              </a:rPr>
              <a:pPr/>
              <a:t>0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+mn-cs"/>
            </a:endParaRP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5E421183-780C-4507-B057-F6B52BA39C59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5449888" y="5810250"/>
            <a:ext cx="203200" cy="109538"/>
          </a:xfrm>
          <a:prstGeom prst="rect">
            <a:avLst/>
          </a:prstGeom>
          <a:solidFill>
            <a:srgbClr val="969696"/>
          </a:solidFill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BA722049-B3B6-4A18-B843-C342DDF94726}" type="datetime'3''''''''''''''''''''''''%'''''''''''''''''''''''''''''''''''">
              <a:rPr lang="ru-RU" altLang="en-US" sz="800" smtClean="0">
                <a:solidFill>
                  <a:srgbClr val="000000"/>
                </a:solidFill>
                <a:effectLst/>
              </a:rPr>
              <a:pPr/>
              <a:t>3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+mn-cs"/>
            </a:endParaRP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A40D9DE7-8A84-4CD4-8ED3-795109C99639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273675" y="5980113"/>
            <a:ext cx="55721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4811778A-06A2-4C7F-B603-5882162086F4}" type="datetime'''''Ca''''n''''d''ie''''''''''s ''p''ro''''duct''''io''''''n'">
              <a:rPr lang="en-GB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Candies production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9" name="Text Placeholder 20">
            <a:extLst>
              <a:ext uri="{FF2B5EF4-FFF2-40B4-BE49-F238E27FC236}">
                <a16:creationId xmlns:a16="http://schemas.microsoft.com/office/drawing/2014/main" id="{B7DB53E5-CA96-46B1-9EE6-58D0168E8C93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9123363" y="5700713"/>
            <a:ext cx="2428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EBB31C2F-08B5-413D-ABDC-C02FA3F65341}" type="datetime'''''''0'''',''''''''''''''''''''''''''''''''0'''''''''''''''''">
              <a:rPr lang="en-US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0,0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41" name="Text Placeholder 20">
            <a:extLst>
              <a:ext uri="{FF2B5EF4-FFF2-40B4-BE49-F238E27FC236}">
                <a16:creationId xmlns:a16="http://schemas.microsoft.com/office/drawing/2014/main" id="{5D226F43-A0AA-4BB0-BE75-45FBDB172439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6372225" y="5821363"/>
            <a:ext cx="203200" cy="109538"/>
          </a:xfrm>
          <a:prstGeom prst="rect">
            <a:avLst/>
          </a:prstGeom>
          <a:solidFill>
            <a:srgbClr val="969696"/>
          </a:solidFill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0A330987-E274-42C1-B82E-520F7E374EEE}" type="datetime'''''''1''''''''''''''%'''''''''''''''''''">
              <a:rPr lang="ru-RU" altLang="en-US" sz="800" smtClean="0">
                <a:solidFill>
                  <a:srgbClr val="000000"/>
                </a:solidFill>
                <a:effectLst/>
              </a:rPr>
              <a:pPr/>
              <a:t>1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+mn-cs"/>
            </a:endParaRP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E12FD7C-0597-4AE9-AABA-B24DDDB764A0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8218488" y="5834063"/>
            <a:ext cx="203200" cy="109538"/>
          </a:xfrm>
          <a:prstGeom prst="rect">
            <a:avLst/>
          </a:prstGeom>
          <a:solidFill>
            <a:srgbClr val="969696"/>
          </a:solidFill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6E08249C-9F03-4B2D-812F-EC9AD862F520}" type="datetime'''''''''''''''''''0''''''''''''''''''''%'">
              <a:rPr lang="ru-RU" altLang="en-US" sz="800" smtClean="0">
                <a:solidFill>
                  <a:srgbClr val="000000"/>
                </a:solidFill>
                <a:effectLst/>
              </a:rPr>
              <a:pPr/>
              <a:t>0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+mn-cs"/>
            </a:endParaRP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659000F6-1960-40AC-B848-B662D641E39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116638" y="5980113"/>
            <a:ext cx="71596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72E58FC3-52E2-4987-96DB-0A5D5948C23C}" type="datetime'''S''emi-fi''ni''''s''h''e''d'''''' produ''''c''''''''ts'''''">
              <a:rPr lang="en-GB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Semi-finished products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7" name="Text Placeholder 20">
            <a:extLst>
              <a:ext uri="{FF2B5EF4-FFF2-40B4-BE49-F238E27FC236}">
                <a16:creationId xmlns:a16="http://schemas.microsoft.com/office/drawing/2014/main" id="{DE6328AC-BA76-4CC5-B8D5-FA52C91FF5E5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525963" y="5808663"/>
            <a:ext cx="203200" cy="109538"/>
          </a:xfrm>
          <a:prstGeom prst="rect">
            <a:avLst/>
          </a:prstGeom>
          <a:solidFill>
            <a:srgbClr val="969696"/>
          </a:solidFill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00F94ECF-80FA-472A-9C5F-9CCB8991110A}" type="datetime'''''''''''3%'''''''''">
              <a:rPr lang="ru-RU" altLang="en-US" sz="800" smtClean="0">
                <a:solidFill>
                  <a:srgbClr val="000000"/>
                </a:solidFill>
                <a:effectLst/>
              </a:rPr>
              <a:pPr/>
              <a:t>3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+mn-cs"/>
            </a:endParaRP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B7E422C1-94CD-4044-A8D6-D13F68BAD2E1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0741025" y="5980113"/>
            <a:ext cx="6985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CBD7D066-A23E-4BFB-AFFD-8D90CF89FB09}" type="datetime'''Fo''''''o''d'''' ''''fo''''r'' st''''''''''a''f''''''f'">
              <a:rPr lang="en-GB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Food for staff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3" name="Text Placeholder 20">
            <a:extLst>
              <a:ext uri="{FF2B5EF4-FFF2-40B4-BE49-F238E27FC236}">
                <a16:creationId xmlns:a16="http://schemas.microsoft.com/office/drawing/2014/main" id="{E5314F23-D149-4F37-B965-2C84DF50D54F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10988675" y="5837238"/>
            <a:ext cx="203200" cy="109538"/>
          </a:xfrm>
          <a:prstGeom prst="rect">
            <a:avLst/>
          </a:prstGeom>
          <a:solidFill>
            <a:srgbClr val="969696"/>
          </a:solidFill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C48410D2-7724-46A8-AF01-3871AA3B13C9}" type="datetime'''''''''''''''''0''''%'">
              <a:rPr lang="ru-RU" altLang="en-US" sz="800" smtClean="0">
                <a:solidFill>
                  <a:srgbClr val="000000"/>
                </a:solidFill>
                <a:effectLst/>
              </a:rPr>
              <a:pPr/>
              <a:t>0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+mn-cs"/>
            </a:endParaRP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F61E0E6B-8086-43B6-8F6E-BB6C71B9C11A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6999288" y="5980113"/>
            <a:ext cx="79851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3435536D-A0BD-4313-82B3-465892ED2B95}" type="datetime'F''is''''''''''''h'' ''''''p''roduc''''''''''''t''''''ion'">
              <a:rPr lang="en-GB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Fish production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A510B85E-887C-44A5-A922-730E380DAC40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7953375" y="5980113"/>
            <a:ext cx="73501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782F8CBA-9413-480A-8A1A-E2CAB2F79CFC}" type="datetime'''R''''a''''w ma''''t''''erial''s ''fo''r ''''''pr''od.'''''''">
              <a:rPr lang="en-GB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Raw materials for prod.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0" name="Text Placeholder 20">
            <a:extLst>
              <a:ext uri="{FF2B5EF4-FFF2-40B4-BE49-F238E27FC236}">
                <a16:creationId xmlns:a16="http://schemas.microsoft.com/office/drawing/2014/main" id="{614901FF-862D-491B-9683-2BA2B27B41F5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9090025" y="5980113"/>
            <a:ext cx="307975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AADA9CE1-85EE-428B-BFB3-EE489B3634A2}" type="datetime'''''B''''''''is''''''t''''''''r''o'''''''''''''''''''''''''''">
              <a:rPr lang="en-GB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Bistro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7EBA92D2-1C5A-4C25-A63E-8DA034BF8EEA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10064750" y="5837238"/>
            <a:ext cx="203200" cy="109538"/>
          </a:xfrm>
          <a:prstGeom prst="rect">
            <a:avLst/>
          </a:prstGeom>
          <a:solidFill>
            <a:srgbClr val="969696"/>
          </a:solidFill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E631C484-0B31-46E2-8A14-A763EF73F569}" type="datetime'''''''''''''''''''''0''%'''''''''''''''''''''''''''''">
              <a:rPr lang="ru-RU" altLang="en-US" sz="800" smtClean="0">
                <a:solidFill>
                  <a:srgbClr val="000000"/>
                </a:solidFill>
                <a:effectLst/>
              </a:rPr>
              <a:pPr/>
              <a:t>0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+mn-cs"/>
            </a:endParaRPr>
          </a:p>
        </p:txBody>
      </p:sp>
      <p:sp>
        <p:nvSpPr>
          <p:cNvPr id="32" name="Text Placeholder 20">
            <a:extLst>
              <a:ext uri="{FF2B5EF4-FFF2-40B4-BE49-F238E27FC236}">
                <a16:creationId xmlns:a16="http://schemas.microsoft.com/office/drawing/2014/main" id="{1086F5D9-6231-4615-BFB5-C379183E22CF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9929813" y="5980113"/>
            <a:ext cx="473075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8515396E-DF4F-4173-81B9-AB0011E37B2F}" type="datetime'''''C''''''''''''''a''''f''ete''''''''r''''''''''ia'''''''''''">
              <a:rPr lang="en-GB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Cafeteria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5" name="Text Placeholder 20">
            <a:extLst>
              <a:ext uri="{FF2B5EF4-FFF2-40B4-BE49-F238E27FC236}">
                <a16:creationId xmlns:a16="http://schemas.microsoft.com/office/drawing/2014/main" id="{0E3CDF0F-22F2-4166-AF08-7C42F82FF00F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1697038" y="4135438"/>
            <a:ext cx="3238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EDD228B2-9C11-41A2-B40D-F2C30814CE3E}" type="datetime'''''''2''''''''''''''''''''''''''''6'''',''''''''''7'''">
              <a:rPr lang="en-US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26,7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6" name="Text Placeholder 20">
            <a:extLst>
              <a:ext uri="{FF2B5EF4-FFF2-40B4-BE49-F238E27FC236}">
                <a16:creationId xmlns:a16="http://schemas.microsoft.com/office/drawing/2014/main" id="{01C76269-9484-41BB-A313-6C4375CBE6B2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3584575" y="5626100"/>
            <a:ext cx="2428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8FE8EC55-F4E4-48CD-AF70-C282D962E8C1}" type="datetime'''''''''''''''''''''''''''''1'''',7'''">
              <a:rPr lang="en-US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,7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8" name="Text Placeholder 20">
            <a:extLst>
              <a:ext uri="{FF2B5EF4-FFF2-40B4-BE49-F238E27FC236}">
                <a16:creationId xmlns:a16="http://schemas.microsoft.com/office/drawing/2014/main" id="{DC671B5C-953F-4E0C-B862-81765490BC48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8199438" y="5697538"/>
            <a:ext cx="2428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EE6BF234-D253-465C-94EA-B6D134B283F0}" type="datetime'''''''0'''''''''''''''''''''''''',''''''1'''''''''''">
              <a:rPr lang="en-US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0,1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5" name="Text Placeholder 20">
            <a:extLst>
              <a:ext uri="{FF2B5EF4-FFF2-40B4-BE49-F238E27FC236}">
                <a16:creationId xmlns:a16="http://schemas.microsoft.com/office/drawing/2014/main" id="{53FF4F7B-B6A9-4FD7-9E07-F9AE9FAC7A91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4506913" y="5672138"/>
            <a:ext cx="2428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B13D227C-5C4F-4D85-B680-401C3753B46E}" type="datetime'''1'''''''''''''''''''''''''''''',0'''''''''''">
              <a:rPr lang="en-US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,0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8" name="Text Placeholder 20">
            <a:extLst>
              <a:ext uri="{FF2B5EF4-FFF2-40B4-BE49-F238E27FC236}">
                <a16:creationId xmlns:a16="http://schemas.microsoft.com/office/drawing/2014/main" id="{1B9E9B1A-CD9A-49F2-A818-15D655FD1E4D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6353175" y="5684838"/>
            <a:ext cx="2428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5D451B90-769E-4412-A8E4-3AD3DD18BD09}" type="datetime'0'''''''''''',''''''''''''''5'''''''''''''''''">
              <a:rPr lang="en-US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0,5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7" name="Text Placeholder 20">
            <a:extLst>
              <a:ext uri="{FF2B5EF4-FFF2-40B4-BE49-F238E27FC236}">
                <a16:creationId xmlns:a16="http://schemas.microsoft.com/office/drawing/2014/main" id="{D729EE8E-27C3-42F1-8298-FAA091CCCFCA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5430838" y="5673725"/>
            <a:ext cx="2428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53F41653-276B-49B7-A879-5BB05BD9FDF1}" type="datetime'''''''''''''''0,''''''''''''''''''''''''''''''9'''''''''''">
              <a:rPr lang="en-US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0,9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CE9B8D1D-1DF9-4A0C-9D34-316FBAE779B6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10045700" y="5700713"/>
            <a:ext cx="2428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2A5C0035-5817-4C97-BCFB-C32EE668433E}" type="datetime'''''''''''''''''''''''''''''''''0,''''''''''''0'''''''''''''''">
              <a:rPr lang="en-US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0,0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40" name="Text Placeholder 20">
            <a:extLst>
              <a:ext uri="{FF2B5EF4-FFF2-40B4-BE49-F238E27FC236}">
                <a16:creationId xmlns:a16="http://schemas.microsoft.com/office/drawing/2014/main" id="{9909812B-D78D-4A64-8BE0-5AE1AAE184B6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10969625" y="5700713"/>
            <a:ext cx="2428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B8539FBB-06F9-497B-B0D9-38211D308707}" type="datetime'''''''''''0,''''''0'''''''''''''''''''''">
              <a:rPr lang="en-US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0,0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8" name="Text Placeholder 20">
            <a:extLst>
              <a:ext uri="{FF2B5EF4-FFF2-40B4-BE49-F238E27FC236}">
                <a16:creationId xmlns:a16="http://schemas.microsoft.com/office/drawing/2014/main" id="{B35108A7-7111-4770-AD66-C91AE0968480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7277100" y="5689600"/>
            <a:ext cx="2428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AA920DD4-DCFB-4ED6-9814-0C7E5B6BEFB8}" type="datetime'''''''''''''''''''''0'''''''''''''''''''''''''',''''''''4'''">
              <a:rPr lang="en-US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0,4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4463410C-D8D6-4223-9842-D768239E60C5}"/>
              </a:ext>
            </a:extLst>
          </p:cNvPr>
          <p:cNvSpPr txBox="1"/>
          <p:nvPr/>
        </p:nvSpPr>
        <p:spPr bwMode="gray">
          <a:xfrm>
            <a:off x="688185" y="1175657"/>
            <a:ext cx="10990340" cy="2481943"/>
          </a:xfrm>
          <a:prstGeom prst="rect">
            <a:avLst/>
          </a:prstGeom>
          <a:ln>
            <a:solidFill>
              <a:srgbClr val="797878"/>
            </a:solidFill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gnum offline sales in In-house product class by product group, (in million tenge)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D3A83199-F6E9-4310-B16E-0FAC218CD53A}"/>
              </a:ext>
            </a:extLst>
          </p:cNvPr>
          <p:cNvSpPr txBox="1"/>
          <p:nvPr/>
        </p:nvSpPr>
        <p:spPr bwMode="gray">
          <a:xfrm>
            <a:off x="688185" y="3727450"/>
            <a:ext cx="10990340" cy="2543493"/>
          </a:xfrm>
          <a:prstGeom prst="rect">
            <a:avLst/>
          </a:prstGeom>
          <a:ln>
            <a:solidFill>
              <a:srgbClr val="797878"/>
            </a:solidFill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gnum online sales in In-house product class by product group, (in million tenge)</a:t>
            </a:r>
          </a:p>
        </p:txBody>
      </p:sp>
      <p:graphicFrame>
        <p:nvGraphicFramePr>
          <p:cNvPr id="89" name="Chart 88">
            <a:extLst>
              <a:ext uri="{FF2B5EF4-FFF2-40B4-BE49-F238E27FC236}">
                <a16:creationId xmlns:a16="http://schemas.microsoft.com/office/drawing/2014/main" id="{3C0A8A15-0466-4E3C-9600-777944298B68}"/>
              </a:ext>
            </a:extLst>
          </p:cNvPr>
          <p:cNvGraphicFramePr/>
          <p:nvPr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332511438"/>
              </p:ext>
            </p:extLst>
          </p:nvPr>
        </p:nvGraphicFramePr>
        <p:xfrm>
          <a:off x="1314450" y="1620838"/>
          <a:ext cx="10320338" cy="1758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4"/>
          </a:graphicData>
        </a:graphic>
      </p:graphicFrame>
      <p:sp>
        <p:nvSpPr>
          <p:cNvPr id="51" name="Text Placeholder 20">
            <a:extLst>
              <a:ext uri="{FF2B5EF4-FFF2-40B4-BE49-F238E27FC236}">
                <a16:creationId xmlns:a16="http://schemas.microsoft.com/office/drawing/2014/main" id="{289B3F86-D3D1-4781-9F08-22B6D14B516A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3571875" y="3040063"/>
            <a:ext cx="26828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51B4F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AE4B17C8-D93F-4101-BF8F-FAB7FCF612AE}" type="datetime'''''''''''''''''''''''''''''''''''''1''''''2%'''''">
              <a:rPr lang="ru-RU" altLang="en-US" sz="800" smtClean="0">
                <a:solidFill>
                  <a:srgbClr val="FFFFFF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2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48" name="Text Placeholder 20">
            <a:extLst>
              <a:ext uri="{FF2B5EF4-FFF2-40B4-BE49-F238E27FC236}">
                <a16:creationId xmlns:a16="http://schemas.microsoft.com/office/drawing/2014/main" id="{1EA77B3C-78D9-4895-A40B-B49043895585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1490663" y="3384550"/>
            <a:ext cx="7366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C7A34727-7AA3-4521-9688-608A784322DD}" type="datetime'Me''''at'''''' ''''''''''p''''r''o''''''d''''u''''ct''s'">
              <a:rPr lang="en-GB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Meat products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45" name="Text Placeholder 20">
            <a:extLst>
              <a:ext uri="{FF2B5EF4-FFF2-40B4-BE49-F238E27FC236}">
                <a16:creationId xmlns:a16="http://schemas.microsoft.com/office/drawing/2014/main" id="{12520618-1D1D-485E-8441-71589D39047E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1725613" y="2446338"/>
            <a:ext cx="26828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51B4F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019169D7-91B4-4BD1-BB4D-D0F1F8A7C04D}" type="datetime'''''''46''''''''''''''''''''''''''%'''''''''''''''''''''">
              <a:rPr lang="ru-RU" altLang="en-US" sz="800" smtClean="0">
                <a:solidFill>
                  <a:srgbClr val="FFFFFF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46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61" name="Text Placeholder 20">
            <a:extLst>
              <a:ext uri="{FF2B5EF4-FFF2-40B4-BE49-F238E27FC236}">
                <a16:creationId xmlns:a16="http://schemas.microsoft.com/office/drawing/2014/main" id="{C5410D03-2931-49F5-BC98-8068F35AD1F1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2647950" y="2944813"/>
            <a:ext cx="26828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51B4F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C236A2CA-3E86-423F-913C-EB1E307353C3}" type="datetime'''''''''''''''''''''''''''1''''''''''''7''''''''''''''''%'''">
              <a:rPr lang="ru-RU" altLang="en-US" sz="800" smtClean="0">
                <a:solidFill>
                  <a:srgbClr val="FFFFFF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7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49" name="Text Placeholder 20">
            <a:extLst>
              <a:ext uri="{FF2B5EF4-FFF2-40B4-BE49-F238E27FC236}">
                <a16:creationId xmlns:a16="http://schemas.microsoft.com/office/drawing/2014/main" id="{82C59897-16D1-4D49-886F-39C634CB60DB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2565400" y="3384550"/>
            <a:ext cx="4318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17BEDC9A-AEF6-4400-8474-35FDD3E8F04B}" type="datetime'Co''''''''o''k''''''er''y'''''''''''''">
              <a:rPr lang="en-GB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Cookery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46" name="Text Placeholder 20">
            <a:extLst>
              <a:ext uri="{FF2B5EF4-FFF2-40B4-BE49-F238E27FC236}">
                <a16:creationId xmlns:a16="http://schemas.microsoft.com/office/drawing/2014/main" id="{E1CD491C-392A-49BD-9462-30A268BB2502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3522663" y="3384550"/>
            <a:ext cx="36671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8C0D4781-75F4-4F6F-B8D7-774B517393CF}" type="datetime'Ba''''''ke''''''''''''''r''''''''''''''''''''''''''y'">
              <a:rPr lang="en-GB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Bakery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53" name="Text Placeholder 20">
            <a:extLst>
              <a:ext uri="{FF2B5EF4-FFF2-40B4-BE49-F238E27FC236}">
                <a16:creationId xmlns:a16="http://schemas.microsoft.com/office/drawing/2014/main" id="{A4C88C54-D768-4678-A956-1A3C3162E119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4494213" y="3063875"/>
            <a:ext cx="26828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51B4F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03AD17AC-B432-4B31-908F-3F10DB459CD6}" type="datetime'''1''''''''''''''''''''''''''''''''''''''''''0''''%'''''''''''">
              <a:rPr lang="ru-RU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0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50" name="Text Placeholder 20">
            <a:extLst>
              <a:ext uri="{FF2B5EF4-FFF2-40B4-BE49-F238E27FC236}">
                <a16:creationId xmlns:a16="http://schemas.microsoft.com/office/drawing/2014/main" id="{30BD574E-4E27-4DCC-81C4-AE63DA8F4DE0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4349750" y="3384550"/>
            <a:ext cx="55721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28E51976-F091-45EA-9397-96E3353DDF3C}" type="datetime'C''a''n''''d''''ie''''s ''prod''u''''''''''''c''t''ion'''''''">
              <a:rPr lang="en-GB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Candies production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54" name="Text Placeholder 20">
            <a:extLst>
              <a:ext uri="{FF2B5EF4-FFF2-40B4-BE49-F238E27FC236}">
                <a16:creationId xmlns:a16="http://schemas.microsoft.com/office/drawing/2014/main" id="{35EC2053-D978-4B5C-AB7B-282F264A5AA3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5418138" y="3073400"/>
            <a:ext cx="26828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51B4F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CEDA27B8-5BA0-41E4-9CB4-30B5F8636F33}" type="datetime'''''''''''''''''''''''''''''''''1''''''''0''''''%'''''''">
              <a:rPr lang="ru-RU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0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71" name="Text Placeholder 20">
            <a:extLst>
              <a:ext uri="{FF2B5EF4-FFF2-40B4-BE49-F238E27FC236}">
                <a16:creationId xmlns:a16="http://schemas.microsoft.com/office/drawing/2014/main" id="{9F79883C-1F13-44CB-9388-B8BC5ED5EE00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2579688" y="2540000"/>
            <a:ext cx="4032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67B632E8-BD8A-4CE8-BE4A-43D3D901AA43}" type="datetime'''1 ''''5''''''''''''6''''''''''''''''''''''''''8'''''''''''">
              <a:rPr lang="en-US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 568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55" name="Text Placeholder 20">
            <a:extLst>
              <a:ext uri="{FF2B5EF4-FFF2-40B4-BE49-F238E27FC236}">
                <a16:creationId xmlns:a16="http://schemas.microsoft.com/office/drawing/2014/main" id="{28533D19-A234-41B6-ABD2-BFC0408427AE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5378450" y="3384550"/>
            <a:ext cx="34766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05AEE0FF-8091-465C-8E23-8466B567EB0D}" type="datetime'''''''''''''''S''''''''''a''l''''''''''a''''''''''''d''''s'">
              <a:rPr lang="en-GB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Salads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56" name="Text Placeholder 20">
            <a:extLst>
              <a:ext uri="{FF2B5EF4-FFF2-40B4-BE49-F238E27FC236}">
                <a16:creationId xmlns:a16="http://schemas.microsoft.com/office/drawing/2014/main" id="{BC5ABF29-0127-47F0-9BA2-30CD81A6ECE8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6372225" y="3190875"/>
            <a:ext cx="2032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78534B33-CB0B-4A86-A654-42963BA2383D}" type="datetime'''3''''''%'''''''''''''''''''''''''''''">
              <a:rPr lang="ru-RU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3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66" name="Text Placeholder 20">
            <a:extLst>
              <a:ext uri="{FF2B5EF4-FFF2-40B4-BE49-F238E27FC236}">
                <a16:creationId xmlns:a16="http://schemas.microsoft.com/office/drawing/2014/main" id="{F2094701-A8B2-43B9-B6CE-EBC48CA1E646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10988675" y="3241675"/>
            <a:ext cx="203200" cy="109538"/>
          </a:xfrm>
          <a:prstGeom prst="rect">
            <a:avLst/>
          </a:prstGeom>
          <a:solidFill>
            <a:srgbClr val="969696"/>
          </a:solidFill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E73F042F-76C6-4728-A018-9E1A8FD02B59}" type="datetime'''''''''0''''''''''%'''''''''">
              <a:rPr lang="ru-RU" altLang="en-US" sz="800" smtClean="0">
                <a:solidFill>
                  <a:srgbClr val="000000"/>
                </a:solidFill>
                <a:effectLst/>
              </a:rPr>
              <a:pPr/>
              <a:t>0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+mn-cs"/>
            </a:endParaRPr>
          </a:p>
        </p:txBody>
      </p:sp>
      <p:sp>
        <p:nvSpPr>
          <p:cNvPr id="57" name="Text Placeholder 20">
            <a:extLst>
              <a:ext uri="{FF2B5EF4-FFF2-40B4-BE49-F238E27FC236}">
                <a16:creationId xmlns:a16="http://schemas.microsoft.com/office/drawing/2014/main" id="{B33072DE-0FB5-4357-A9A5-D22A1815A280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6116638" y="3384550"/>
            <a:ext cx="71596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F69D7152-AD04-47CC-9F97-AB22E544E9E3}" type="datetime'Se''mi-''fi''''ni''sh''''''''''''e''d ''''p''ro''d''''u''cts'">
              <a:rPr lang="en-GB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Semi-finished products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58" name="Text Placeholder 20">
            <a:extLst>
              <a:ext uri="{FF2B5EF4-FFF2-40B4-BE49-F238E27FC236}">
                <a16:creationId xmlns:a16="http://schemas.microsoft.com/office/drawing/2014/main" id="{C4AF841B-2193-4988-81D8-EDF32534CF13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7296150" y="3224213"/>
            <a:ext cx="203200" cy="109538"/>
          </a:xfrm>
          <a:prstGeom prst="rect">
            <a:avLst/>
          </a:prstGeom>
          <a:solidFill>
            <a:srgbClr val="969696"/>
          </a:solidFill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3C098549-1C46-460F-A47F-EF15DF4E78AB}" type="datetime'''''''''''1%'''''''''''''''''''''''''''''">
              <a:rPr lang="ru-RU" altLang="en-US" sz="800" smtClean="0">
                <a:solidFill>
                  <a:srgbClr val="000000"/>
                </a:solidFill>
                <a:effectLst/>
              </a:rPr>
              <a:pPr/>
              <a:t>1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+mn-cs"/>
            </a:endParaRPr>
          </a:p>
        </p:txBody>
      </p:sp>
      <p:sp>
        <p:nvSpPr>
          <p:cNvPr id="77" name="Text Placeholder 20">
            <a:extLst>
              <a:ext uri="{FF2B5EF4-FFF2-40B4-BE49-F238E27FC236}">
                <a16:creationId xmlns:a16="http://schemas.microsoft.com/office/drawing/2014/main" id="{0C8BEA92-E995-48EC-90FB-0B5B5258C2AA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9145588" y="3101975"/>
            <a:ext cx="1968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939DFD5F-F6FF-4542-940E-20B8D0CDAD7C}" type="datetime'''''''''''''2''''''''''''''''''''''''''''''0'''''''''''''''''">
              <a:rPr lang="en-US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20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60" name="Text Placeholder 20">
            <a:extLst>
              <a:ext uri="{FF2B5EF4-FFF2-40B4-BE49-F238E27FC236}">
                <a16:creationId xmlns:a16="http://schemas.microsoft.com/office/drawing/2014/main" id="{23A96CD9-4995-406C-8989-B28A0DF594DF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9142413" y="3238500"/>
            <a:ext cx="203200" cy="109538"/>
          </a:xfrm>
          <a:prstGeom prst="rect">
            <a:avLst/>
          </a:prstGeom>
          <a:solidFill>
            <a:srgbClr val="969696"/>
          </a:solidFill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A254A804-263B-42CF-B44F-2B16F105A22E}" type="datetime'''''''''''''''''''''''0%'''''''''''''''''">
              <a:rPr lang="ru-RU" altLang="en-US" sz="800" smtClean="0">
                <a:solidFill>
                  <a:srgbClr val="000000"/>
                </a:solidFill>
                <a:effectLst/>
              </a:rPr>
              <a:pPr/>
              <a:t>0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+mn-cs"/>
            </a:endParaRPr>
          </a:p>
        </p:txBody>
      </p:sp>
      <p:sp>
        <p:nvSpPr>
          <p:cNvPr id="52" name="Text Placeholder 20">
            <a:extLst>
              <a:ext uri="{FF2B5EF4-FFF2-40B4-BE49-F238E27FC236}">
                <a16:creationId xmlns:a16="http://schemas.microsoft.com/office/drawing/2014/main" id="{51AB48A4-8A87-494B-BB17-7CE9AA9B327C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6999288" y="3384550"/>
            <a:ext cx="79851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FC16FE6F-E98E-4469-AD53-3F021FC46CE3}" type="datetime'Fi''''s''h'''' prod''''''''''u''c''ti''''''''''on'''">
              <a:rPr lang="en-GB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Fish production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67" name="Text Placeholder 20">
            <a:extLst>
              <a:ext uri="{FF2B5EF4-FFF2-40B4-BE49-F238E27FC236}">
                <a16:creationId xmlns:a16="http://schemas.microsoft.com/office/drawing/2014/main" id="{02E9FC78-B947-4F87-B7EF-A0E3334F8054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11033125" y="3105150"/>
            <a:ext cx="1158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D07F49E4-72D9-4EA0-B3F7-5C55FD2C6585}" type="datetime'''''4'''''''''''''''''''''''''''''''''">
              <a:rPr lang="en-US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4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47" name="Text Placeholder 20">
            <a:extLst>
              <a:ext uri="{FF2B5EF4-FFF2-40B4-BE49-F238E27FC236}">
                <a16:creationId xmlns:a16="http://schemas.microsoft.com/office/drawing/2014/main" id="{C40D5E20-02EA-4A55-84AE-A0EE7D062B52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8218488" y="3233738"/>
            <a:ext cx="203200" cy="109538"/>
          </a:xfrm>
          <a:prstGeom prst="rect">
            <a:avLst/>
          </a:prstGeom>
          <a:solidFill>
            <a:srgbClr val="969696"/>
          </a:solidFill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CA5BF0F2-0757-4E32-8A12-891350B3F79B}" type="datetime'''''''''''''''''''''1''''''''''''%'''''''''''''''''''''''">
              <a:rPr lang="ru-RU" altLang="en-US" sz="800" smtClean="0">
                <a:solidFill>
                  <a:srgbClr val="000000"/>
                </a:solidFill>
                <a:effectLst/>
              </a:rPr>
              <a:pPr/>
              <a:t>1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+mn-cs"/>
            </a:endParaRPr>
          </a:p>
        </p:txBody>
      </p:sp>
      <p:sp>
        <p:nvSpPr>
          <p:cNvPr id="59" name="Text Placeholder 20">
            <a:extLst>
              <a:ext uri="{FF2B5EF4-FFF2-40B4-BE49-F238E27FC236}">
                <a16:creationId xmlns:a16="http://schemas.microsoft.com/office/drawing/2014/main" id="{F61AF500-18D0-4A3E-AA2A-A142ECC77D40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8083550" y="3384550"/>
            <a:ext cx="473075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B4DA61CD-472A-4DEF-B2F1-1D65F373177B}" type="datetime'''C''''''''''''''''''''''a''f''''e''t''''''e''''r''''''''ia'''">
              <a:rPr lang="en-GB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Cafeteria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62" name="Text Placeholder 20">
            <a:extLst>
              <a:ext uri="{FF2B5EF4-FFF2-40B4-BE49-F238E27FC236}">
                <a16:creationId xmlns:a16="http://schemas.microsoft.com/office/drawing/2014/main" id="{DB56A878-28C9-46B3-99A4-A7546FCB74AD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8877300" y="3384550"/>
            <a:ext cx="73501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966658EE-7F60-4737-939A-34C554F0E79E}" type="datetime'Ra''w'' ''''materials'' ''f''o''''''r ''''p''r''o''''d''.'''">
              <a:rPr lang="en-GB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Raw materials for prod.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64" name="Text Placeholder 20">
            <a:extLst>
              <a:ext uri="{FF2B5EF4-FFF2-40B4-BE49-F238E27FC236}">
                <a16:creationId xmlns:a16="http://schemas.microsoft.com/office/drawing/2014/main" id="{081A73BF-0102-4820-809C-1BD25114C227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10064750" y="3240088"/>
            <a:ext cx="203200" cy="109538"/>
          </a:xfrm>
          <a:prstGeom prst="rect">
            <a:avLst/>
          </a:prstGeom>
          <a:solidFill>
            <a:srgbClr val="969696"/>
          </a:solidFill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200ED9AA-F2A1-4D49-8EFF-48CD3A2BB9EC}" type="datetime'0''''''''%'''''''''''''''''''''''''''''''''''''">
              <a:rPr lang="ru-RU" altLang="en-US" sz="800" smtClean="0">
                <a:solidFill>
                  <a:srgbClr val="000000"/>
                </a:solidFill>
                <a:effectLst/>
              </a:rPr>
              <a:pPr/>
              <a:t>0%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+mn-cs"/>
            </a:endParaRPr>
          </a:p>
        </p:txBody>
      </p:sp>
      <p:sp>
        <p:nvSpPr>
          <p:cNvPr id="65" name="Text Placeholder 20">
            <a:extLst>
              <a:ext uri="{FF2B5EF4-FFF2-40B4-BE49-F238E27FC236}">
                <a16:creationId xmlns:a16="http://schemas.microsoft.com/office/drawing/2014/main" id="{3A3F9F6C-D735-44F3-BD08-06C9EDB8239B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10012363" y="3384550"/>
            <a:ext cx="307975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27F3C6B3-E591-47D8-93D2-7212C227F83E}" type="datetime'''''''''''''B''i''''''''''''''s''''t''''''''''r''''''''o'">
              <a:rPr lang="en-GB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Bistro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74" name="Text Placeholder 20">
            <a:extLst>
              <a:ext uri="{FF2B5EF4-FFF2-40B4-BE49-F238E27FC236}">
                <a16:creationId xmlns:a16="http://schemas.microsoft.com/office/drawing/2014/main" id="{BB2657B7-56E9-4D8F-A37D-909B0E3003CF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5413375" y="2795588"/>
            <a:ext cx="2778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61E7819D-F7D8-4B2D-B7FB-E47768D0B584}" type="datetime'''''''''8''''''''''''''''''''''''''''9''''''''''''''''''''4'">
              <a:rPr lang="en-US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894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69" name="Text Placeholder 20">
            <a:extLst>
              <a:ext uri="{FF2B5EF4-FFF2-40B4-BE49-F238E27FC236}">
                <a16:creationId xmlns:a16="http://schemas.microsoft.com/office/drawing/2014/main" id="{E9604E85-EAF5-4719-9670-8ABE975150CC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10741025" y="3384550"/>
            <a:ext cx="6985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737CF5C3-D371-421E-9D19-865FA72E29EC}" type="datetime'Fo''''o''d ''fo''''r'''''''' ''''''''''''''sta''f''''''''f'">
              <a:rPr lang="en-GB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Food for staff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70" name="Text Placeholder 20">
            <a:extLst>
              <a:ext uri="{FF2B5EF4-FFF2-40B4-BE49-F238E27FC236}">
                <a16:creationId xmlns:a16="http://schemas.microsoft.com/office/drawing/2014/main" id="{ACDB3D63-A74E-4D84-9637-1E6D9A656860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gray">
          <a:xfrm>
            <a:off x="1657350" y="1541463"/>
            <a:ext cx="4032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68B541DE-4180-4368-A5B2-91998BF9DB99}" type="datetime'''''''''''''''''''''''''''''''''''4'''' 1''''''''99'''''''''">
              <a:rPr lang="en-US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4 199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72" name="Text Placeholder 20">
            <a:extLst>
              <a:ext uri="{FF2B5EF4-FFF2-40B4-BE49-F238E27FC236}">
                <a16:creationId xmlns:a16="http://schemas.microsoft.com/office/drawing/2014/main" id="{8D1ED86C-1CD0-4D14-BECC-1ECF05018F19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3503613" y="2730500"/>
            <a:ext cx="4032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6E08C3CD-46E7-4382-A55B-D625C6C8300A}" type="datetime'''''''''''1'' ''''0''''''''6''''''''5'''">
              <a:rPr lang="en-US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 065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63" name="Text Placeholder 20">
            <a:extLst>
              <a:ext uri="{FF2B5EF4-FFF2-40B4-BE49-F238E27FC236}">
                <a16:creationId xmlns:a16="http://schemas.microsoft.com/office/drawing/2014/main" id="{2929F5F9-EC85-43E0-A329-81B144E9FA44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gray">
          <a:xfrm>
            <a:off x="4489450" y="2776538"/>
            <a:ext cx="2778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EBCB2C5E-576A-4C62-B721-37CB2409167C}" type="datetime'''''''''''94''''''''''''''''''''''''''''''''''''''''6'">
              <a:rPr lang="en-US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946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73" name="Text Placeholder 20">
            <a:extLst>
              <a:ext uri="{FF2B5EF4-FFF2-40B4-BE49-F238E27FC236}">
                <a16:creationId xmlns:a16="http://schemas.microsoft.com/office/drawing/2014/main" id="{29AAC309-57CF-412C-A92E-3D938848F89C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gray">
          <a:xfrm>
            <a:off x="6335713" y="3032125"/>
            <a:ext cx="2778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1D24C8B9-22A8-4A26-8910-218D90DE23A7}" type="datetime'''''''''''''2''''''''70'''''''">
              <a:rPr lang="en-US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270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75" name="Text Placeholder 20">
            <a:extLst>
              <a:ext uri="{FF2B5EF4-FFF2-40B4-BE49-F238E27FC236}">
                <a16:creationId xmlns:a16="http://schemas.microsoft.com/office/drawing/2014/main" id="{4C72F134-ADB2-42C2-ACDE-DDC0A46056F1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gray">
          <a:xfrm>
            <a:off x="7299325" y="3087688"/>
            <a:ext cx="1968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B79C68EE-B9CD-4C95-A41B-EE7396E7DF41}" type="datetime'''''''''''9''''''''''''''''''''''''''''''''''''7'''''">
              <a:rPr lang="en-US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97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76" name="Text Placeholder 20">
            <a:extLst>
              <a:ext uri="{FF2B5EF4-FFF2-40B4-BE49-F238E27FC236}">
                <a16:creationId xmlns:a16="http://schemas.microsoft.com/office/drawing/2014/main" id="{1AE07CAA-5BE8-43B1-9776-AA8618C1825E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gray">
          <a:xfrm>
            <a:off x="10067925" y="3103563"/>
            <a:ext cx="1968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EA642221-1C7F-4610-919F-A74468F96CDE}" type="datetime'''''''''''''''1''3'''''''''''''''''">
              <a:rPr lang="en-US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3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68" name="Text Placeholder 20">
            <a:extLst>
              <a:ext uri="{FF2B5EF4-FFF2-40B4-BE49-F238E27FC236}">
                <a16:creationId xmlns:a16="http://schemas.microsoft.com/office/drawing/2014/main" id="{08E03ED5-09EE-4C76-A27A-22229C87FA49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gray">
          <a:xfrm>
            <a:off x="8221663" y="3097213"/>
            <a:ext cx="1968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66D7C708-686D-4EF9-9D89-DD51A716FCE6}" type="datetime'''''''''''''''''''''''''''''''''''4''''''''''''''''7'''">
              <a:rPr lang="en-US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47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66230C03-AD3C-4744-BCDB-50B9B2BAED4E}"/>
              </a:ext>
            </a:extLst>
          </p:cNvPr>
          <p:cNvSpPr/>
          <p:nvPr/>
        </p:nvSpPr>
        <p:spPr>
          <a:xfrm>
            <a:off x="10539979" y="1300679"/>
            <a:ext cx="1012447" cy="391200"/>
          </a:xfrm>
          <a:prstGeom prst="rect">
            <a:avLst/>
          </a:prstGeom>
          <a:solidFill>
            <a:srgbClr val="B51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&gt;70</a:t>
            </a: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%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f sales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326B1F48-8672-4BAD-A09E-9A4F6DFB5C5F}"/>
              </a:ext>
            </a:extLst>
          </p:cNvPr>
          <p:cNvSpPr/>
          <p:nvPr/>
        </p:nvSpPr>
        <p:spPr>
          <a:xfrm>
            <a:off x="10539978" y="3981510"/>
            <a:ext cx="1012447" cy="391200"/>
          </a:xfrm>
          <a:prstGeom prst="rect">
            <a:avLst/>
          </a:prstGeom>
          <a:solidFill>
            <a:srgbClr val="B51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&gt;70</a:t>
            </a: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%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f sales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F9662134-674B-41F9-8F9B-020060C8794A}"/>
              </a:ext>
            </a:extLst>
          </p:cNvPr>
          <p:cNvSpPr txBox="1"/>
          <p:nvPr/>
        </p:nvSpPr>
        <p:spPr bwMode="gray">
          <a:xfrm>
            <a:off x="839016" y="1652585"/>
            <a:ext cx="647199" cy="19367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ales</a:t>
            </a:r>
            <a:endParaRPr kumimoji="0" lang="ru-RU" sz="7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F175DE47-23BF-49AB-9C59-D9AC728B44DD}"/>
              </a:ext>
            </a:extLst>
          </p:cNvPr>
          <p:cNvSpPr txBox="1"/>
          <p:nvPr/>
        </p:nvSpPr>
        <p:spPr bwMode="gray">
          <a:xfrm>
            <a:off x="830221" y="2338388"/>
            <a:ext cx="647199" cy="27463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hare of total sales, %</a:t>
            </a:r>
            <a:endParaRPr kumimoji="0" lang="ru-RU" sz="7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0E9CDDA4-FB26-4C58-9DEE-021AC3EBA131}"/>
              </a:ext>
            </a:extLst>
          </p:cNvPr>
          <p:cNvSpPr txBox="1"/>
          <p:nvPr/>
        </p:nvSpPr>
        <p:spPr bwMode="gray">
          <a:xfrm>
            <a:off x="852429" y="4999196"/>
            <a:ext cx="647199" cy="27463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hare of total sales, %</a:t>
            </a:r>
            <a:endParaRPr kumimoji="0" lang="ru-RU" sz="7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85F2EA62-4E47-4D24-9001-40D3AFC52804}"/>
              </a:ext>
            </a:extLst>
          </p:cNvPr>
          <p:cNvSpPr txBox="1"/>
          <p:nvPr/>
        </p:nvSpPr>
        <p:spPr bwMode="gray">
          <a:xfrm>
            <a:off x="839016" y="4143404"/>
            <a:ext cx="647199" cy="19367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ales</a:t>
            </a:r>
            <a:endParaRPr kumimoji="0" lang="ru-RU" sz="7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E8802E-384C-4F97-8FFC-3F37AEC64A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6D2641-81B4-4FA9-AABA-CD0BE301EB4F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728058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9FBDCD-8AFA-4187-9760-F291DAA622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9811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378" imgH="377" progId="TCLayout.ActiveDocument.1">
                  <p:embed/>
                </p:oleObj>
              </mc:Choice>
              <mc:Fallback>
                <p:oleObj name="think-cell Slide" r:id="rId27" imgW="378" imgH="37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9FBDCD-8AFA-4187-9760-F291DAA622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D8FAFC92-18B7-49DE-AAC3-D2B7F9C3702B}"/>
              </a:ext>
            </a:extLst>
          </p:cNvPr>
          <p:cNvSpPr txBox="1"/>
          <p:nvPr/>
        </p:nvSpPr>
        <p:spPr>
          <a:xfrm>
            <a:off x="688185" y="556502"/>
            <a:ext cx="7410786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ITC Avant Garde Pro Md" panose="020B0602020202020204" pitchFamily="34" charset="0"/>
              </a:rPr>
              <a:t>Offline vs. Online sa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1BB43B2-8756-4C3E-93B0-253FACE8C63F}"/>
              </a:ext>
            </a:extLst>
          </p:cNvPr>
          <p:cNvSpPr txBox="1"/>
          <p:nvPr/>
        </p:nvSpPr>
        <p:spPr>
          <a:xfrm>
            <a:off x="788122" y="3919931"/>
            <a:ext cx="20378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ITC Avant Garde Pro Bk" panose="020B0502020202020204" pitchFamily="34" charset="0"/>
              </a:rPr>
              <a:t>Offline vs. Onlin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3C7766D-E193-4077-80FA-33056F2BB974}"/>
              </a:ext>
            </a:extLst>
          </p:cNvPr>
          <p:cNvCxnSpPr>
            <a:cxnSpLocks/>
          </p:cNvCxnSpPr>
          <p:nvPr/>
        </p:nvCxnSpPr>
        <p:spPr>
          <a:xfrm>
            <a:off x="688185" y="1082000"/>
            <a:ext cx="1101613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078131E3-F5DA-4B88-98D4-DBE184432C54}"/>
              </a:ext>
            </a:extLst>
          </p:cNvPr>
          <p:cNvSpPr txBox="1"/>
          <p:nvPr/>
        </p:nvSpPr>
        <p:spPr bwMode="gray">
          <a:xfrm>
            <a:off x="693540" y="1879758"/>
            <a:ext cx="5223933" cy="4285195"/>
          </a:xfrm>
          <a:prstGeom prst="rect">
            <a:avLst/>
          </a:prstGeom>
          <a:ln>
            <a:solidFill>
              <a:srgbClr val="797878"/>
            </a:solidFill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ffline basket composition, in %</a:t>
            </a:r>
          </a:p>
        </p:txBody>
      </p:sp>
      <p:graphicFrame>
        <p:nvGraphicFramePr>
          <p:cNvPr id="44" name="Chart 43">
            <a:extLst>
              <a:ext uri="{FF2B5EF4-FFF2-40B4-BE49-F238E27FC236}">
                <a16:creationId xmlns:a16="http://schemas.microsoft.com/office/drawing/2014/main" id="{3CDF2199-4D90-406D-B9B9-F1E80CD4500F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2994055"/>
              </p:ext>
            </p:extLst>
          </p:nvPr>
        </p:nvGraphicFramePr>
        <p:xfrm>
          <a:off x="1644650" y="2543175"/>
          <a:ext cx="3222625" cy="32051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graphicFrame>
        <p:nvGraphicFramePr>
          <p:cNvPr id="54" name="Chart 53">
            <a:extLst>
              <a:ext uri="{FF2B5EF4-FFF2-40B4-BE49-F238E27FC236}">
                <a16:creationId xmlns:a16="http://schemas.microsoft.com/office/drawing/2014/main" id="{D332C1D4-B0F7-4342-B43F-601739A9F241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26207402"/>
              </p:ext>
            </p:extLst>
          </p:nvPr>
        </p:nvGraphicFramePr>
        <p:xfrm>
          <a:off x="7450138" y="2543175"/>
          <a:ext cx="3224212" cy="32019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>
        <p:nvSpPr>
          <p:cNvPr id="98" name="Rectangle 97">
            <a:extLst>
              <a:ext uri="{FF2B5EF4-FFF2-40B4-BE49-F238E27FC236}">
                <a16:creationId xmlns:a16="http://schemas.microsoft.com/office/drawing/2014/main" id="{7F4A51B3-C03D-482F-B3B9-DE4EBFA2C7D1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1531938" y="1281113"/>
            <a:ext cx="179388" cy="133350"/>
          </a:xfrm>
          <a:prstGeom prst="rect">
            <a:avLst/>
          </a:prstGeom>
          <a:solidFill>
            <a:srgbClr val="B51B4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E17250D8-7D03-4753-A03F-95527F436233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1531938" y="1468438"/>
            <a:ext cx="179388" cy="133350"/>
          </a:xfrm>
          <a:prstGeom prst="rect">
            <a:avLst/>
          </a:prstGeom>
          <a:solidFill>
            <a:srgbClr val="364D6E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E393AFF5-31E2-4932-8FC2-C8DEFAE7B4B7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2962275" y="1281113"/>
            <a:ext cx="179388" cy="133350"/>
          </a:xfrm>
          <a:prstGeom prst="rect">
            <a:avLst/>
          </a:prstGeom>
          <a:solidFill>
            <a:srgbClr val="4C6C9C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A311B7FF-B5EE-4922-A2AA-766BF0818D63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2962275" y="1468438"/>
            <a:ext cx="179388" cy="133350"/>
          </a:xfrm>
          <a:prstGeom prst="rect">
            <a:avLst/>
          </a:prstGeom>
          <a:solidFill>
            <a:srgbClr val="6F8DB9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D1E5771D-2EDB-4451-97EE-6B335FDF2FA1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5037138" y="1281113"/>
            <a:ext cx="179388" cy="133350"/>
          </a:xfrm>
          <a:prstGeom prst="rect">
            <a:avLst/>
          </a:prstGeom>
          <a:solidFill>
            <a:srgbClr val="9DB1C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A230F08A-10C7-422D-8E57-19B9805320D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5037138" y="1468438"/>
            <a:ext cx="179388" cy="133350"/>
          </a:xfrm>
          <a:prstGeom prst="rect">
            <a:avLst/>
          </a:prstGeom>
          <a:solidFill>
            <a:srgbClr val="C3CFE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54401CCA-6DAB-4C71-B05F-8F69C9858679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6918325" y="1281113"/>
            <a:ext cx="179388" cy="133350"/>
          </a:xfrm>
          <a:prstGeom prst="rect">
            <a:avLst/>
          </a:prstGeom>
          <a:solidFill>
            <a:srgbClr val="DFE5E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ADC4C0E0-576A-4FEA-BBA5-E3929CE53C99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6918325" y="1468438"/>
            <a:ext cx="179388" cy="133350"/>
          </a:xfrm>
          <a:prstGeom prst="rect">
            <a:avLst/>
          </a:prstGeom>
          <a:solidFill>
            <a:srgbClr val="80808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71441F1D-5D7A-426D-AD81-4D5FED482CF6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9842500" y="1281113"/>
            <a:ext cx="179388" cy="133350"/>
          </a:xfrm>
          <a:prstGeom prst="rect">
            <a:avLst/>
          </a:prstGeom>
          <a:solidFill>
            <a:schemeClr val="folHlink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E6E3FCE0-B271-432E-9024-AB1637286E8F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8159750" y="1281113"/>
            <a:ext cx="179388" cy="133350"/>
          </a:xfrm>
          <a:prstGeom prst="rect">
            <a:avLst/>
          </a:prstGeom>
          <a:solidFill>
            <a:srgbClr val="96969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CDEF63FD-22C4-4BC6-8030-2F4A0174928D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8159750" y="1468438"/>
            <a:ext cx="179388" cy="133350"/>
          </a:xfrm>
          <a:prstGeom prst="rect">
            <a:avLst/>
          </a:prstGeom>
          <a:solidFill>
            <a:srgbClr val="C0C0C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8" name="Text Placeholder 20">
            <a:extLst>
              <a:ext uri="{FF2B5EF4-FFF2-40B4-BE49-F238E27FC236}">
                <a16:creationId xmlns:a16="http://schemas.microsoft.com/office/drawing/2014/main" id="{A107062D-33E5-4570-AABF-D6CD8EDB79C0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762125" y="1276350"/>
            <a:ext cx="10985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A1900C3A-39A6-4D87-8D68-36E5AEBBD0C3}" type="datetime'''Pas''''''''''t''''''''''''r''y an''d'''''' c''''a''nd''y'">
              <a:rPr lang="en-US" altLang="en-US" sz="1000" smtClean="0">
                <a:latin typeface="ITC Avant Garde Pro Md" panose="020B0602020202020204" pitchFamily="34" charset="0"/>
              </a:rPr>
              <a:pPr/>
              <a:t>Pastry and candy</a:t>
            </a:fld>
            <a:endParaRPr lang="ru-RU" sz="1000" dirty="0">
              <a:latin typeface="+mn-lt"/>
              <a:sym typeface="ITC Avant Garde Pro Md" panose="020B0602020202020204" pitchFamily="34" charset="0"/>
            </a:endParaRPr>
          </a:p>
        </p:txBody>
      </p:sp>
      <p:sp>
        <p:nvSpPr>
          <p:cNvPr id="15" name="Text Placeholder 20">
            <a:extLst>
              <a:ext uri="{FF2B5EF4-FFF2-40B4-BE49-F238E27FC236}">
                <a16:creationId xmlns:a16="http://schemas.microsoft.com/office/drawing/2014/main" id="{B157DE29-9891-4847-B0B1-DEEB502484FC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267325" y="1276350"/>
            <a:ext cx="15494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E1360BB7-31BE-40A1-A090-0E1ACA34802A}" type="datetime'''Veg''''e''tabl''es,'' f''r''uits,'' ''''b''err''i''''es'">
              <a:rPr lang="en-US" altLang="en-US" sz="1000" smtClean="0">
                <a:latin typeface="ITC Avant Garde Pro Md" panose="020B0602020202020204" pitchFamily="34" charset="0"/>
              </a:rPr>
              <a:pPr/>
              <a:t>Vegetables, fruits, berries</a:t>
            </a:fld>
            <a:endParaRPr lang="ru-RU" sz="1000" dirty="0">
              <a:latin typeface="+mn-lt"/>
            </a:endParaRPr>
          </a:p>
        </p:txBody>
      </p:sp>
      <p:sp>
        <p:nvSpPr>
          <p:cNvPr id="115" name="Text Placeholder 20">
            <a:extLst>
              <a:ext uri="{FF2B5EF4-FFF2-40B4-BE49-F238E27FC236}">
                <a16:creationId xmlns:a16="http://schemas.microsoft.com/office/drawing/2014/main" id="{424B2894-A03F-4B06-B71A-4F9DED07D8A3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3192463" y="1463675"/>
            <a:ext cx="17430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CCD59DA9-56DB-4B23-A615-E7B5A82432EF}" type="datetime'''Eg''''''gs,'''' ''ch''ee''''''se and ''''sa''us''''a''''ges'">
              <a:rPr lang="en-US" altLang="en-US" sz="1000" smtClean="0">
                <a:latin typeface="ITC Avant Garde Pro Md" panose="020B0602020202020204" pitchFamily="34" charset="0"/>
              </a:rPr>
              <a:pPr/>
              <a:t>Eggs, cheese and sausages</a:t>
            </a:fld>
            <a:endParaRPr lang="ru-RU" sz="1000" dirty="0">
              <a:latin typeface="+mn-lt"/>
              <a:sym typeface="ITC Avant Garde Pro Md" panose="020B0602020202020204" pitchFamily="34" charset="0"/>
            </a:endParaRPr>
          </a:p>
        </p:txBody>
      </p:sp>
      <p:sp>
        <p:nvSpPr>
          <p:cNvPr id="117" name="Text Placeholder 20">
            <a:extLst>
              <a:ext uri="{FF2B5EF4-FFF2-40B4-BE49-F238E27FC236}">
                <a16:creationId xmlns:a16="http://schemas.microsoft.com/office/drawing/2014/main" id="{02FDCA12-4AF8-478B-AEAD-ECAD6DB53573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8389938" y="1276350"/>
            <a:ext cx="13509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F36051A4-11F3-4C17-B6DA-3F9AEDE7AF5F}" type="datetime'''H''ous''''e''h''''''''o''l''d c''''h''e''m''i''ca''ls'''''">
              <a:rPr lang="en-US" altLang="en-US" sz="1000" smtClean="0">
                <a:latin typeface="ITC Avant Garde Pro Md" panose="020B0602020202020204" pitchFamily="34" charset="0"/>
              </a:rPr>
              <a:pPr/>
              <a:t>Household chemicals</a:t>
            </a:fld>
            <a:endParaRPr lang="ru-RU" sz="1000" dirty="0">
              <a:latin typeface="+mn-lt"/>
              <a:sym typeface="ITC Avant Garde Pro Md" panose="020B0602020202020204" pitchFamily="34" charset="0"/>
            </a:endParaRPr>
          </a:p>
        </p:txBody>
      </p:sp>
      <p:sp>
        <p:nvSpPr>
          <p:cNvPr id="114" name="Text Placeholder 20">
            <a:extLst>
              <a:ext uri="{FF2B5EF4-FFF2-40B4-BE49-F238E27FC236}">
                <a16:creationId xmlns:a16="http://schemas.microsoft.com/office/drawing/2014/main" id="{8B12038C-115D-42DE-BC29-B5EFD5F1BD04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762125" y="1463675"/>
            <a:ext cx="9128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F885B82A-A765-4BB7-BF8C-8B00EE9634A6}" type="datetime'''''''D''''''a''i''''r''y pr''''''o''du''c''''''''''t''''s'''">
              <a:rPr lang="en-US" altLang="en-US" sz="1000" smtClean="0">
                <a:latin typeface="ITC Avant Garde Pro Md" panose="020B0602020202020204" pitchFamily="34" charset="0"/>
              </a:rPr>
              <a:pPr/>
              <a:t>Dairy products</a:t>
            </a:fld>
            <a:endParaRPr lang="ru-RU" sz="1000" dirty="0">
              <a:latin typeface="+mn-lt"/>
              <a:sym typeface="ITC Avant Garde Pro Md" panose="020B0602020202020204" pitchFamily="34" charset="0"/>
            </a:endParaRPr>
          </a:p>
        </p:txBody>
      </p:sp>
      <p:sp>
        <p:nvSpPr>
          <p:cNvPr id="113" name="Text Placeholder 20">
            <a:extLst>
              <a:ext uri="{FF2B5EF4-FFF2-40B4-BE49-F238E27FC236}">
                <a16:creationId xmlns:a16="http://schemas.microsoft.com/office/drawing/2014/main" id="{8FEF2E7C-3F0F-40CB-98A6-20B5E95BE285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3192463" y="1276350"/>
            <a:ext cx="8540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D099B30D-D729-4255-AFD2-480F61CB87A9}" type="datetime'P''''''''a''n''''''''''''t''ry'''' ''st''ap''l''''''e''s'''''">
              <a:rPr lang="en-US" altLang="en-US" sz="1000" smtClean="0">
                <a:latin typeface="ITC Avant Garde Pro Md" panose="020B0602020202020204" pitchFamily="34" charset="0"/>
              </a:rPr>
              <a:pPr/>
              <a:t>Pantry staples</a:t>
            </a:fld>
            <a:endParaRPr lang="ru-RU" sz="1000" dirty="0">
              <a:latin typeface="+mn-lt"/>
              <a:sym typeface="ITC Avant Garde Pro Md" panose="020B0602020202020204" pitchFamily="34" charset="0"/>
            </a:endParaRPr>
          </a:p>
        </p:txBody>
      </p:sp>
      <p:sp>
        <p:nvSpPr>
          <p:cNvPr id="111" name="Text Placeholder 20">
            <a:extLst>
              <a:ext uri="{FF2B5EF4-FFF2-40B4-BE49-F238E27FC236}">
                <a16:creationId xmlns:a16="http://schemas.microsoft.com/office/drawing/2014/main" id="{992B6D30-F19C-488A-BC82-D6EA906256FF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7148513" y="1276350"/>
            <a:ext cx="6191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3625F119-7435-4711-BE58-F2D8BE8E4A9C}" type="datetime'''''''''''''''''''S''''''''''o''ft ''''d''''ri''''n''k''''''s'">
              <a:rPr lang="en-US" altLang="en-US" sz="1000" smtClean="0">
                <a:latin typeface="ITC Avant Garde Pro Md" panose="020B0602020202020204" pitchFamily="34" charset="0"/>
              </a:rPr>
              <a:pPr/>
              <a:t>Soft drinks</a:t>
            </a:fld>
            <a:endParaRPr lang="ru-RU" sz="1000" dirty="0">
              <a:latin typeface="+mn-lt"/>
              <a:sym typeface="ITC Avant Garde Pro Md" panose="020B0602020202020204" pitchFamily="34" charset="0"/>
            </a:endParaRPr>
          </a:p>
        </p:txBody>
      </p:sp>
      <p:sp>
        <p:nvSpPr>
          <p:cNvPr id="110" name="Text Placeholder 20">
            <a:extLst>
              <a:ext uri="{FF2B5EF4-FFF2-40B4-BE49-F238E27FC236}">
                <a16:creationId xmlns:a16="http://schemas.microsoft.com/office/drawing/2014/main" id="{4586FCBA-F652-4D5C-A0DD-11CE99BE1A55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5267325" y="1463675"/>
            <a:ext cx="11064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82B71300-3F3C-4B4A-BE68-78B1298CCCAD}" type="datetime'''Hy''gien''e'''' p''''r''o''''''''d''u''ct''''''''s'''''''">
              <a:rPr lang="en-US" altLang="en-US" sz="1000" smtClean="0">
                <a:latin typeface="ITC Avant Garde Pro Md" panose="020B0602020202020204" pitchFamily="34" charset="0"/>
              </a:rPr>
              <a:pPr/>
              <a:t>Hygiene products</a:t>
            </a:fld>
            <a:endParaRPr lang="ru-RU" sz="1000" dirty="0">
              <a:latin typeface="+mn-lt"/>
              <a:sym typeface="ITC Avant Garde Pro Md" panose="020B0602020202020204" pitchFamily="34" charset="0"/>
            </a:endParaRPr>
          </a:p>
        </p:txBody>
      </p:sp>
      <p:sp>
        <p:nvSpPr>
          <p:cNvPr id="116" name="Text Placeholder 20">
            <a:extLst>
              <a:ext uri="{FF2B5EF4-FFF2-40B4-BE49-F238E27FC236}">
                <a16:creationId xmlns:a16="http://schemas.microsoft.com/office/drawing/2014/main" id="{C64505FC-5436-497C-9765-484AD649F209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7148513" y="1463675"/>
            <a:ext cx="9096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5C8DE18B-FC46-4097-BFC1-34B3D8A2CC5A}" type="datetime'M''''''ea''t'''' ''p''''r''''''''o''''d''''''uc''''''''ts'''">
              <a:rPr lang="en-US" altLang="en-US" sz="1000" smtClean="0">
                <a:latin typeface="ITC Avant Garde Pro Md" panose="020B0602020202020204" pitchFamily="34" charset="0"/>
              </a:rPr>
              <a:pPr/>
              <a:t>Meat products</a:t>
            </a:fld>
            <a:endParaRPr lang="ru-RU" sz="1000" dirty="0">
              <a:latin typeface="+mn-lt"/>
              <a:sym typeface="ITC Avant Garde Pro Md" panose="020B0602020202020204" pitchFamily="34" charset="0"/>
            </a:endParaRPr>
          </a:p>
        </p:txBody>
      </p:sp>
      <p:sp>
        <p:nvSpPr>
          <p:cNvPr id="112" name="Text Placeholder 20">
            <a:extLst>
              <a:ext uri="{FF2B5EF4-FFF2-40B4-BE49-F238E27FC236}">
                <a16:creationId xmlns:a16="http://schemas.microsoft.com/office/drawing/2014/main" id="{230EC730-C529-4C3F-AD25-E1113EE64F8F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8389938" y="1463675"/>
            <a:ext cx="3444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4F6AC0A0-237B-4F67-AEA8-DB7DD3940391}" type="datetime'''''O''t''''''''''''''''''h''''''er'''''''''">
              <a:rPr lang="en-US" altLang="en-US" sz="1000" smtClean="0">
                <a:latin typeface="ITC Avant Garde Pro Md" panose="020B0602020202020204" pitchFamily="34" charset="0"/>
              </a:rPr>
              <a:pPr/>
              <a:t>Other</a:t>
            </a:fld>
            <a:endParaRPr lang="ru-RU" sz="1000" dirty="0">
              <a:latin typeface="+mn-lt"/>
              <a:sym typeface="ITC Avant Garde Pro Md" panose="020B0602020202020204" pitchFamily="34" charset="0"/>
            </a:endParaRPr>
          </a:p>
        </p:txBody>
      </p:sp>
      <p:sp>
        <p:nvSpPr>
          <p:cNvPr id="109" name="Text Placeholder 20">
            <a:extLst>
              <a:ext uri="{FF2B5EF4-FFF2-40B4-BE49-F238E27FC236}">
                <a16:creationId xmlns:a16="http://schemas.microsoft.com/office/drawing/2014/main" id="{CCAD7442-5858-46EE-B986-D08E234B830D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0072688" y="1276350"/>
            <a:ext cx="9890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7C2CAFE0-80B3-4597-A56B-0B721EEBBFA3}" type="datetime'''''''''F''ro''ze''n'' p''r''o''duc''''''''''''''''''t''s'''">
              <a:rPr lang="en-US" altLang="en-US" sz="1000" smtClean="0">
                <a:latin typeface="ITC Avant Garde Pro Md" panose="020B0602020202020204" pitchFamily="34" charset="0"/>
              </a:rPr>
              <a:pPr/>
              <a:t>Frozen products</a:t>
            </a:fld>
            <a:endParaRPr lang="ru-RU" sz="1000" dirty="0">
              <a:latin typeface="+mn-lt"/>
              <a:sym typeface="ITC Avant Garde Pro Md" panose="020B0602020202020204" pitchFamily="34" charset="0"/>
            </a:endParaRPr>
          </a:p>
        </p:txBody>
      </p:sp>
      <p:sp>
        <p:nvSpPr>
          <p:cNvPr id="158" name="Rectangle 157" hidden="1">
            <a:extLst>
              <a:ext uri="{FF2B5EF4-FFF2-40B4-BE49-F238E27FC236}">
                <a16:creationId xmlns:a16="http://schemas.microsoft.com/office/drawing/2014/main" id="{CA1B3F9A-35AA-4D4B-AEAD-F55E1D441D71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9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07" name="TextBox 206">
            <a:extLst>
              <a:ext uri="{FF2B5EF4-FFF2-40B4-BE49-F238E27FC236}">
                <a16:creationId xmlns:a16="http://schemas.microsoft.com/office/drawing/2014/main" id="{BB2682A6-2DD1-43E3-984F-4C3E407B5B15}"/>
              </a:ext>
            </a:extLst>
          </p:cNvPr>
          <p:cNvSpPr txBox="1"/>
          <p:nvPr/>
        </p:nvSpPr>
        <p:spPr bwMode="gray">
          <a:xfrm>
            <a:off x="6274529" y="1879599"/>
            <a:ext cx="5430109" cy="4285145"/>
          </a:xfrm>
          <a:prstGeom prst="rect">
            <a:avLst/>
          </a:prstGeom>
          <a:ln>
            <a:solidFill>
              <a:srgbClr val="797878"/>
            </a:solidFill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nline basket composition, in %</a:t>
            </a:r>
          </a:p>
        </p:txBody>
      </p:sp>
      <p:sp>
        <p:nvSpPr>
          <p:cNvPr id="227" name="Rectangle 226" hidden="1">
            <a:extLst>
              <a:ext uri="{FF2B5EF4-FFF2-40B4-BE49-F238E27FC236}">
                <a16:creationId xmlns:a16="http://schemas.microsoft.com/office/drawing/2014/main" id="{1D17C67F-1D8B-4AED-9E75-21661D66C9C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9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1DA7EF-B1EE-40E0-AB61-D0D8EEC090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6D2641-81B4-4FA9-AABA-CD0BE301EB4F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56015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11CF266-3013-4302-A845-35D6323A19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11CF266-3013-4302-A845-35D6323A19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Rectangle 37">
            <a:extLst>
              <a:ext uri="{FF2B5EF4-FFF2-40B4-BE49-F238E27FC236}">
                <a16:creationId xmlns:a16="http://schemas.microsoft.com/office/drawing/2014/main" id="{E0FC49A4-37D9-49CC-9419-BB5578746CDE}"/>
              </a:ext>
            </a:extLst>
          </p:cNvPr>
          <p:cNvSpPr/>
          <p:nvPr/>
        </p:nvSpPr>
        <p:spPr>
          <a:xfrm>
            <a:off x="7419975" y="604914"/>
            <a:ext cx="4772025" cy="8138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06F67EA2-69FC-4EEC-B9FB-83702C7B515C}"/>
              </a:ext>
            </a:extLst>
          </p:cNvPr>
          <p:cNvSpPr txBox="1"/>
          <p:nvPr/>
        </p:nvSpPr>
        <p:spPr>
          <a:xfrm>
            <a:off x="8412602" y="303793"/>
            <a:ext cx="1998724" cy="7078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4000" dirty="0">
                <a:latin typeface="ITC Avant Garde Pro Md" panose="020B0602020202020204" pitchFamily="34" charset="0"/>
              </a:rPr>
              <a:t>Outline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BA6E07A-3E93-46C0-BCED-6BDC84CFB5AB}"/>
              </a:ext>
            </a:extLst>
          </p:cNvPr>
          <p:cNvGrpSpPr/>
          <p:nvPr/>
        </p:nvGrpSpPr>
        <p:grpSpPr>
          <a:xfrm>
            <a:off x="4124552" y="1539588"/>
            <a:ext cx="3558830" cy="1631216"/>
            <a:chOff x="3287185" y="1539588"/>
            <a:chExt cx="3558830" cy="1631216"/>
          </a:xfrm>
        </p:grpSpPr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3B4990A7-A99F-47D3-984C-2D74AA29ADA8}"/>
                </a:ext>
              </a:extLst>
            </p:cNvPr>
            <p:cNvSpPr txBox="1"/>
            <p:nvPr/>
          </p:nvSpPr>
          <p:spPr>
            <a:xfrm>
              <a:off x="3287185" y="1539588"/>
              <a:ext cx="1197717" cy="16312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0" dirty="0">
                  <a:latin typeface="Bahnschrift SemiLight Condensed" panose="020B0502040204020203" pitchFamily="34" charset="0"/>
                </a:rPr>
                <a:t>01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9E1A3FB8-E9D3-47DB-81F9-361AAE469A6F}"/>
                </a:ext>
              </a:extLst>
            </p:cNvPr>
            <p:cNvSpPr txBox="1"/>
            <p:nvPr/>
          </p:nvSpPr>
          <p:spPr>
            <a:xfrm>
              <a:off x="4477283" y="1860428"/>
              <a:ext cx="236873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>
                  <a:latin typeface="ITC Avant Garde Pro Md" panose="020B0602020202020204" pitchFamily="34" charset="0"/>
                </a:rPr>
                <a:t>Introduction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633CB264-E917-41AC-9444-0DBAA9FE69E2}"/>
                </a:ext>
              </a:extLst>
            </p:cNvPr>
            <p:cNvSpPr txBox="1"/>
            <p:nvPr/>
          </p:nvSpPr>
          <p:spPr>
            <a:xfrm>
              <a:off x="4475935" y="2182452"/>
              <a:ext cx="2368732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solidFill>
                    <a:schemeClr val="bg2">
                      <a:lumMod val="50000"/>
                    </a:schemeClr>
                  </a:solidFill>
                  <a:latin typeface="ITC Avant Garde Pro Bk" panose="020B0502020202020204" pitchFamily="34" charset="0"/>
                </a:rPr>
                <a:t>Project scope and aims; problem statement and motivation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B883E639-9BB9-460B-B5A7-A61C0651424B}"/>
              </a:ext>
            </a:extLst>
          </p:cNvPr>
          <p:cNvGrpSpPr/>
          <p:nvPr/>
        </p:nvGrpSpPr>
        <p:grpSpPr>
          <a:xfrm>
            <a:off x="7750614" y="1523740"/>
            <a:ext cx="3663334" cy="1631216"/>
            <a:chOff x="3287185" y="3961928"/>
            <a:chExt cx="3663334" cy="1631216"/>
          </a:xfrm>
        </p:grpSpPr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0AB786CD-B448-4FE5-A078-B8B692B6F0DE}"/>
                </a:ext>
              </a:extLst>
            </p:cNvPr>
            <p:cNvSpPr txBox="1"/>
            <p:nvPr/>
          </p:nvSpPr>
          <p:spPr>
            <a:xfrm>
              <a:off x="3287185" y="3961928"/>
              <a:ext cx="1489453" cy="16312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0" dirty="0">
                  <a:latin typeface="Bahnschrift SemiLight Condensed" panose="020B0502040204020203" pitchFamily="34" charset="0"/>
                </a:rPr>
                <a:t>02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495ACB1A-A9CC-4B01-AFFB-A4DC9C17A021}"/>
                </a:ext>
              </a:extLst>
            </p:cNvPr>
            <p:cNvSpPr txBox="1"/>
            <p:nvPr/>
          </p:nvSpPr>
          <p:spPr>
            <a:xfrm>
              <a:off x="4581787" y="4298616"/>
              <a:ext cx="236873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>
                  <a:latin typeface="ITC Avant Garde Pro Md" panose="020B0602020202020204" pitchFamily="34" charset="0"/>
                </a:rPr>
                <a:t>Literature review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87497328-06C2-43FD-9EF8-F49A67510630}"/>
                </a:ext>
              </a:extLst>
            </p:cNvPr>
            <p:cNvSpPr txBox="1"/>
            <p:nvPr/>
          </p:nvSpPr>
          <p:spPr>
            <a:xfrm>
              <a:off x="4580439" y="4620640"/>
              <a:ext cx="2072625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solidFill>
                    <a:schemeClr val="bg2">
                      <a:lumMod val="50000"/>
                    </a:schemeClr>
                  </a:solidFill>
                  <a:latin typeface="ITC Avant Garde Pro Bk" panose="020B0502020202020204" pitchFamily="34" charset="0"/>
                </a:rPr>
                <a:t>Bibliographic search of recent research studies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4FCDC3B9-BE0E-4EEA-8672-F3C51183E09E}"/>
              </a:ext>
            </a:extLst>
          </p:cNvPr>
          <p:cNvGrpSpPr/>
          <p:nvPr/>
        </p:nvGrpSpPr>
        <p:grpSpPr>
          <a:xfrm>
            <a:off x="4033111" y="3176786"/>
            <a:ext cx="3761856" cy="1631216"/>
            <a:chOff x="7750615" y="1539588"/>
            <a:chExt cx="3761856" cy="1631216"/>
          </a:xfrm>
        </p:grpSpPr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119DE6CB-1838-4129-A797-D1C73BE6F7E5}"/>
                </a:ext>
              </a:extLst>
            </p:cNvPr>
            <p:cNvSpPr txBox="1"/>
            <p:nvPr/>
          </p:nvSpPr>
          <p:spPr>
            <a:xfrm>
              <a:off x="7750615" y="1539588"/>
              <a:ext cx="1323975" cy="16312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0" dirty="0">
                  <a:latin typeface="Bahnschrift SemiLight Condensed" panose="020B0502040204020203" pitchFamily="34" charset="0"/>
                </a:rPr>
                <a:t>03</a:t>
              </a: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2CD92174-93D9-4EA5-97A6-36DE7D7CFDB2}"/>
                </a:ext>
              </a:extLst>
            </p:cNvPr>
            <p:cNvSpPr txBox="1"/>
            <p:nvPr/>
          </p:nvSpPr>
          <p:spPr>
            <a:xfrm>
              <a:off x="9077855" y="1860428"/>
              <a:ext cx="2434616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>
                  <a:latin typeface="ITC Avant Garde Pro Md" panose="020B0602020202020204" pitchFamily="34" charset="0"/>
                </a:rPr>
                <a:t>Research methodology</a:t>
              </a: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BADAC5C4-B751-4192-9599-5FD6643B9ED8}"/>
                </a:ext>
              </a:extLst>
            </p:cNvPr>
            <p:cNvSpPr txBox="1"/>
            <p:nvPr/>
          </p:nvSpPr>
          <p:spPr>
            <a:xfrm>
              <a:off x="9076507" y="2380402"/>
              <a:ext cx="236873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solidFill>
                    <a:schemeClr val="bg2">
                      <a:lumMod val="50000"/>
                    </a:schemeClr>
                  </a:solidFill>
                  <a:latin typeface="ITC Avant Garde Pro Bk" panose="020B0502020202020204" pitchFamily="34" charset="0"/>
                </a:rPr>
                <a:t>Approaches, tools, and techniques used in study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DC55713-C301-4D33-9230-CEE20C7B93B0}"/>
              </a:ext>
            </a:extLst>
          </p:cNvPr>
          <p:cNvGrpSpPr/>
          <p:nvPr/>
        </p:nvGrpSpPr>
        <p:grpSpPr>
          <a:xfrm>
            <a:off x="7750614" y="3167625"/>
            <a:ext cx="3761856" cy="1631216"/>
            <a:chOff x="7750615" y="3961928"/>
            <a:chExt cx="3761856" cy="1631216"/>
          </a:xfrm>
        </p:grpSpPr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B9446628-309A-4A9C-ACB5-61F6BF4EB501}"/>
                </a:ext>
              </a:extLst>
            </p:cNvPr>
            <p:cNvSpPr txBox="1"/>
            <p:nvPr/>
          </p:nvSpPr>
          <p:spPr>
            <a:xfrm>
              <a:off x="7750615" y="3961928"/>
              <a:ext cx="1323975" cy="16312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0" dirty="0">
                  <a:latin typeface="Bahnschrift SemiLight Condensed" panose="020B0502040204020203" pitchFamily="34" charset="0"/>
                </a:rPr>
                <a:t>04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C043781C-C236-4D83-9D9E-69A9343DFCCA}"/>
                </a:ext>
              </a:extLst>
            </p:cNvPr>
            <p:cNvSpPr txBox="1"/>
            <p:nvPr/>
          </p:nvSpPr>
          <p:spPr>
            <a:xfrm>
              <a:off x="9077855" y="4304264"/>
              <a:ext cx="243461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>
                  <a:latin typeface="ITC Avant Garde Pro Md" panose="020B0602020202020204" pitchFamily="34" charset="0"/>
                </a:rPr>
                <a:t>Results and Discussion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618B24DF-10F4-4E0E-83D8-8B78FBE8268D}"/>
                </a:ext>
              </a:extLst>
            </p:cNvPr>
            <p:cNvSpPr txBox="1"/>
            <p:nvPr/>
          </p:nvSpPr>
          <p:spPr>
            <a:xfrm>
              <a:off x="9076507" y="4626288"/>
              <a:ext cx="2368732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solidFill>
                    <a:schemeClr val="bg2">
                      <a:lumMod val="50000"/>
                    </a:schemeClr>
                  </a:solidFill>
                  <a:latin typeface="ITC Avant Garde Pro Bk" panose="020B0502020202020204" pitchFamily="34" charset="0"/>
                </a:rPr>
                <a:t>The main findings of the project and discussion of the results</a:t>
              </a:r>
            </a:p>
          </p:txBody>
        </p:sp>
      </p:grpSp>
      <p:pic>
        <p:nvPicPr>
          <p:cNvPr id="69" name="Picture 68">
            <a:extLst>
              <a:ext uri="{FF2B5EF4-FFF2-40B4-BE49-F238E27FC236}">
                <a16:creationId xmlns:a16="http://schemas.microsoft.com/office/drawing/2014/main" id="{5EEA497C-E937-4A7C-8574-E017E0FCE34C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902" t="1482" r="3596"/>
          <a:stretch/>
        </p:blipFill>
        <p:spPr>
          <a:xfrm>
            <a:off x="0" y="-50564"/>
            <a:ext cx="3108960" cy="6908564"/>
          </a:xfrm>
          <a:prstGeom prst="rect">
            <a:avLst/>
          </a:prstGeom>
        </p:spPr>
      </p:pic>
      <p:grpSp>
        <p:nvGrpSpPr>
          <p:cNvPr id="24" name="Group 23">
            <a:extLst>
              <a:ext uri="{FF2B5EF4-FFF2-40B4-BE49-F238E27FC236}">
                <a16:creationId xmlns:a16="http://schemas.microsoft.com/office/drawing/2014/main" id="{89E34144-CCA8-4C9D-9885-FD823FB376E4}"/>
              </a:ext>
            </a:extLst>
          </p:cNvPr>
          <p:cNvGrpSpPr/>
          <p:nvPr/>
        </p:nvGrpSpPr>
        <p:grpSpPr>
          <a:xfrm>
            <a:off x="4061422" y="4811510"/>
            <a:ext cx="3756424" cy="1631216"/>
            <a:chOff x="7687485" y="1539588"/>
            <a:chExt cx="3756424" cy="1631216"/>
          </a:xfrm>
        </p:grpSpPr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1AB8E806-1C31-457F-BE0D-B25E152DECCA}"/>
                </a:ext>
              </a:extLst>
            </p:cNvPr>
            <p:cNvSpPr txBox="1"/>
            <p:nvPr/>
          </p:nvSpPr>
          <p:spPr>
            <a:xfrm>
              <a:off x="7687485" y="1539588"/>
              <a:ext cx="1323975" cy="16312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0" dirty="0">
                  <a:latin typeface="Bahnschrift SemiLight Condensed" panose="020B0502040204020203" pitchFamily="34" charset="0"/>
                </a:rPr>
                <a:t>05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2246F97E-CCE2-4AE7-BE26-A3500DA73B9F}"/>
                </a:ext>
              </a:extLst>
            </p:cNvPr>
            <p:cNvSpPr txBox="1"/>
            <p:nvPr/>
          </p:nvSpPr>
          <p:spPr>
            <a:xfrm>
              <a:off x="9009293" y="2103429"/>
              <a:ext cx="243461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>
                  <a:latin typeface="ITC Avant Garde Pro Md" panose="020B0602020202020204" pitchFamily="34" charset="0"/>
                </a:rPr>
                <a:t>Conclusion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54E9EBD0-FEC1-434E-82D2-7B8A4A979EFA}"/>
                </a:ext>
              </a:extLst>
            </p:cNvPr>
            <p:cNvSpPr txBox="1"/>
            <p:nvPr/>
          </p:nvSpPr>
          <p:spPr>
            <a:xfrm>
              <a:off x="9007945" y="2380402"/>
              <a:ext cx="236873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solidFill>
                    <a:schemeClr val="bg2">
                      <a:lumMod val="50000"/>
                    </a:schemeClr>
                  </a:solidFill>
                  <a:latin typeface="ITC Avant Garde Pro Bk" panose="020B0502020202020204" pitchFamily="34" charset="0"/>
                </a:rPr>
                <a:t>Summary findings and recommendations</a:t>
              </a:r>
            </a:p>
          </p:txBody>
        </p:sp>
      </p:grp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B315764-5A3C-4E80-BEC9-58C3CD174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6D2641-81B4-4FA9-AABA-CD0BE301EB4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43343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9FBDCD-8AFA-4187-9760-F291DAA622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0500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7" imgW="378" imgH="377" progId="TCLayout.ActiveDocument.1">
                  <p:embed/>
                </p:oleObj>
              </mc:Choice>
              <mc:Fallback>
                <p:oleObj name="think-cell Slide" r:id="rId47" imgW="378" imgH="37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9FBDCD-8AFA-4187-9760-F291DAA622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D8FAFC92-18B7-49DE-AAC3-D2B7F9C3702B}"/>
              </a:ext>
            </a:extLst>
          </p:cNvPr>
          <p:cNvSpPr txBox="1"/>
          <p:nvPr/>
        </p:nvSpPr>
        <p:spPr>
          <a:xfrm>
            <a:off x="688185" y="556502"/>
            <a:ext cx="7410786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ITC Avant Garde Pro Md" panose="020B0602020202020204" pitchFamily="34" charset="0"/>
              </a:rPr>
              <a:t>Offline vs. Online by day of week and by cit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1BB43B2-8756-4C3E-93B0-253FACE8C63F}"/>
              </a:ext>
            </a:extLst>
          </p:cNvPr>
          <p:cNvSpPr txBox="1"/>
          <p:nvPr/>
        </p:nvSpPr>
        <p:spPr>
          <a:xfrm>
            <a:off x="788122" y="3919931"/>
            <a:ext cx="20378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ITC Avant Garde Pro Bk" panose="020B0502020202020204" pitchFamily="34" charset="0"/>
              </a:rPr>
              <a:t>Offline vs. Onlin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3C7766D-E193-4077-80FA-33056F2BB974}"/>
              </a:ext>
            </a:extLst>
          </p:cNvPr>
          <p:cNvCxnSpPr>
            <a:cxnSpLocks/>
          </p:cNvCxnSpPr>
          <p:nvPr/>
        </p:nvCxnSpPr>
        <p:spPr>
          <a:xfrm>
            <a:off x="688185" y="1082000"/>
            <a:ext cx="1101613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BA1474CB-314B-461D-A6E8-1519E71136F6}"/>
              </a:ext>
            </a:extLst>
          </p:cNvPr>
          <p:cNvSpPr txBox="1"/>
          <p:nvPr/>
        </p:nvSpPr>
        <p:spPr bwMode="gray">
          <a:xfrm>
            <a:off x="688185" y="1245178"/>
            <a:ext cx="7739853" cy="2453697"/>
          </a:xfrm>
          <a:prstGeom prst="rect">
            <a:avLst/>
          </a:prstGeom>
          <a:ln>
            <a:solidFill>
              <a:srgbClr val="797878"/>
            </a:solidFill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verage offline weekly sales by day of week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(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n million tenge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5DC0D35-4503-4785-BD35-F7F85BE18EC2}"/>
              </a:ext>
            </a:extLst>
          </p:cNvPr>
          <p:cNvSpPr txBox="1"/>
          <p:nvPr/>
        </p:nvSpPr>
        <p:spPr bwMode="gray">
          <a:xfrm>
            <a:off x="688185" y="3818164"/>
            <a:ext cx="7739853" cy="2558595"/>
          </a:xfrm>
          <a:prstGeom prst="rect">
            <a:avLst/>
          </a:prstGeom>
          <a:ln>
            <a:solidFill>
              <a:srgbClr val="797878"/>
            </a:solidFill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verage online weekly sales by day of week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(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n million tenge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)</a:t>
            </a:r>
          </a:p>
        </p:txBody>
      </p:sp>
      <p:graphicFrame>
        <p:nvGraphicFramePr>
          <p:cNvPr id="92" name="Chart 91">
            <a:extLst>
              <a:ext uri="{FF2B5EF4-FFF2-40B4-BE49-F238E27FC236}">
                <a16:creationId xmlns:a16="http://schemas.microsoft.com/office/drawing/2014/main" id="{E8B8F604-B410-4E91-B1B2-9D3ACE4515A0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3273008"/>
              </p:ext>
            </p:extLst>
          </p:nvPr>
        </p:nvGraphicFramePr>
        <p:xfrm>
          <a:off x="992188" y="4410075"/>
          <a:ext cx="7407275" cy="1563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B916B6AA-BFD8-47E2-B563-FBA092BF52A7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1463675" y="5221289"/>
            <a:ext cx="2555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78E6B006-C1E5-4125-A5B1-D0C9219F573E}" type="datetime'''''''1''''''''''''''''''''''''3''''''''''''''%'''">
              <a:rPr lang="en-US" altLang="en-US" sz="1000" smtClean="0">
                <a:solidFill>
                  <a:srgbClr val="000000"/>
                </a:solidFill>
                <a:effectLst/>
                <a:latin typeface="+mn-lt"/>
                <a:ea typeface="+mn-ea"/>
              </a:rPr>
              <a:pPr/>
              <a:t>13%</a:t>
            </a:fld>
            <a:endParaRPr kumimoji="0" lang="en-US" sz="100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EECF27C2-FB38-4C26-9E62-003EA17131C8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336675" y="5934075"/>
            <a:ext cx="5080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969330BD-FFC4-419D-8A32-FFEFB9CAFB85}" type="datetime'''''''''''''''''''Mo''n''d''''''''a''''y'''''''">
              <a:rPr lang="en-GB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Monday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13EF5275-B9E3-45C1-BF2A-45C89E755EB6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286125" y="5934075"/>
            <a:ext cx="7477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D6A1B0AD-9064-4159-A31F-1AF5213BDC59}" type="datetime'''''''''''''''''''''''''''''''We''d''''nes''''''d''a''y'''''''">
              <a:rPr lang="en-GB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Wednesday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F1447628-F489-4617-8150-99CD6F7BEAC4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498725" y="5187951"/>
            <a:ext cx="2555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6F01B13F-C82E-4743-BAF9-28C7BB442FEF}" type="datetime'''''''''''''''''''''1''''''''''''''''4%'''''''''''">
              <a:rPr lang="en-US" altLang="en-US" sz="1000" smtClean="0">
                <a:solidFill>
                  <a:srgbClr val="000000"/>
                </a:solidFill>
                <a:effectLst/>
                <a:latin typeface="+mn-lt"/>
                <a:ea typeface="+mn-ea"/>
              </a:rPr>
              <a:pPr/>
              <a:t>14%</a:t>
            </a:fld>
            <a:endParaRPr kumimoji="0" lang="en-US" sz="100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63EB175A-2FC4-41AD-A98C-68A3F3B297A9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392613" y="5934075"/>
            <a:ext cx="6032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6DE40CA2-7D61-45BB-AB57-7E13750A2991}" type="datetime'Th''''u''r''''''''s''''''''''''''''d''''''''''a''''''''''y'">
              <a:rPr lang="en-GB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Thursday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2B56E4B5-6045-4B96-B297-0BA24EC210FB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354263" y="5934075"/>
            <a:ext cx="5445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323F37B1-69A2-44FC-BC4C-D589E1A2367B}" type="datetime'''''''''T''''''u''''es''d''''''''a''''''''''''''y'''''''''''''">
              <a:rPr lang="en-GB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Tuesday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29" name="Text Placeholder 20">
            <a:extLst>
              <a:ext uri="{FF2B5EF4-FFF2-40B4-BE49-F238E27FC236}">
                <a16:creationId xmlns:a16="http://schemas.microsoft.com/office/drawing/2014/main" id="{2AF3C50A-7C43-4105-ADC6-25CD05C38425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5602288" y="5186364"/>
            <a:ext cx="2555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1235F204-0574-456F-9FD5-206DF2E705FF}" type="datetime'''''''''''''''''''1''''''''''''''''''''''4''''''%'">
              <a:rPr lang="en-US" altLang="en-US" sz="1000" smtClean="0">
                <a:solidFill>
                  <a:srgbClr val="000000"/>
                </a:solidFill>
                <a:effectLst/>
                <a:latin typeface="+mn-lt"/>
                <a:ea typeface="+mn-ea"/>
              </a:rPr>
              <a:pPr/>
              <a:t>14%</a:t>
            </a:fld>
            <a:endParaRPr kumimoji="0" lang="en-US" sz="100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18" name="Text Placeholder 20">
            <a:extLst>
              <a:ext uri="{FF2B5EF4-FFF2-40B4-BE49-F238E27FC236}">
                <a16:creationId xmlns:a16="http://schemas.microsoft.com/office/drawing/2014/main" id="{5546A420-43B9-46DE-A7CA-714F1F61AC86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3532188" y="5122864"/>
            <a:ext cx="2555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51B4F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C627684D-1150-47F0-BF9C-5AD4C0813401}" type="datetime'1''''6''''%'''''''''''''''''''''''''''''''''''''">
              <a:rPr lang="en-US" altLang="en-US" sz="1000" smtClean="0">
                <a:solidFill>
                  <a:srgbClr val="FFFFFF"/>
                </a:solidFill>
                <a:effectLst/>
                <a:latin typeface="+mn-lt"/>
                <a:ea typeface="+mn-ea"/>
              </a:rPr>
              <a:pPr/>
              <a:t>16%</a:t>
            </a:fld>
            <a:endParaRPr kumimoji="0" lang="en-US" sz="100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2142A620-C8F6-4D3D-9454-4178128E5B5C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567238" y="5235576"/>
            <a:ext cx="2555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8D5D0545-545D-47F7-8828-C32D24E0A157}" type="datetime'1''''''''''''''3''''''''''''''''''''''''''''''''''%'">
              <a:rPr lang="en-US" altLang="en-US" sz="1000" smtClean="0">
                <a:solidFill>
                  <a:srgbClr val="000000"/>
                </a:solidFill>
                <a:effectLst/>
                <a:latin typeface="+mn-lt"/>
                <a:ea typeface="+mn-ea"/>
              </a:rPr>
              <a:pPr/>
              <a:t>13%</a:t>
            </a:fld>
            <a:endParaRPr kumimoji="0" lang="en-US" sz="100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17" name="Text Placeholder 20">
            <a:extLst>
              <a:ext uri="{FF2B5EF4-FFF2-40B4-BE49-F238E27FC236}">
                <a16:creationId xmlns:a16="http://schemas.microsoft.com/office/drawing/2014/main" id="{61EA3573-3D57-4CA4-AB25-0BD13C5CEE32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527675" y="5934075"/>
            <a:ext cx="4048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106294B3-2F9D-465E-BFBA-10C60CBF118E}" type="datetime'''''''F''''''''''r''''''''''i''''d''''a''''y'''''''''''''''">
              <a:rPr lang="en-GB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Friday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0" name="Text Placeholder 20">
            <a:extLst>
              <a:ext uri="{FF2B5EF4-FFF2-40B4-BE49-F238E27FC236}">
                <a16:creationId xmlns:a16="http://schemas.microsoft.com/office/drawing/2014/main" id="{63F2D219-C9EE-4D25-85DC-A04948BACC27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6637338" y="5165726"/>
            <a:ext cx="2555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40CC4C7D-0E0E-457A-82AE-32EB744077DF}" type="datetime'1''''''''''''''''''''''''5%'''">
              <a:rPr lang="en-US" altLang="en-US" sz="1000" smtClean="0">
                <a:solidFill>
                  <a:srgbClr val="000000"/>
                </a:solidFill>
                <a:effectLst/>
                <a:latin typeface="+mn-lt"/>
                <a:ea typeface="+mn-ea"/>
              </a:rPr>
              <a:pPr/>
              <a:t>15%</a:t>
            </a:fld>
            <a:endParaRPr kumimoji="0" lang="en-US" sz="100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20" name="Text Placeholder 20">
            <a:extLst>
              <a:ext uri="{FF2B5EF4-FFF2-40B4-BE49-F238E27FC236}">
                <a16:creationId xmlns:a16="http://schemas.microsoft.com/office/drawing/2014/main" id="{C336A11D-7858-4709-B63B-F7943906DBA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6469063" y="5934075"/>
            <a:ext cx="5921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D949E41F-5975-41CB-A539-98EAB60C79D1}" type="datetime'S''a''''''t''''''''ur''''''''d''a''''''''''''''y'''''''''''">
              <a:rPr lang="en-GB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Saturday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043B73F8-DD79-4AAB-B05D-0EA00F01F323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665913" y="4414839"/>
            <a:ext cx="1968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0625A029-2E86-4A68-BBD7-AC8A4A0783BD}" type="datetime'''''7''''''''.''5'''''''''''''''''''''''''''''''''''''''''">
              <a:rPr lang="en-US" altLang="en-US" sz="1000" smtClean="0">
                <a:solidFill>
                  <a:srgbClr val="000000"/>
                </a:solidFill>
                <a:latin typeface="+mn-lt"/>
                <a:ea typeface="+mn-ea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7.5</a:t>
            </a:fld>
            <a:endParaRPr kumimoji="0" lang="en-US" sz="100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03249D67-9C7B-4F7F-9DE8-71C3BC1AE636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7670800" y="5180014"/>
            <a:ext cx="2555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2D584C29-5987-473F-94B2-4DA152180143}" type="datetime'1''''''''''''4''''''''''''''''''%'''''''''''''''''''">
              <a:rPr lang="en-US" altLang="en-US" sz="1000" smtClean="0">
                <a:solidFill>
                  <a:srgbClr val="000000"/>
                </a:solidFill>
                <a:effectLst/>
                <a:latin typeface="+mn-lt"/>
                <a:ea typeface="+mn-ea"/>
              </a:rPr>
              <a:pPr/>
              <a:t>14%</a:t>
            </a:fld>
            <a:endParaRPr kumimoji="0" lang="en-US" sz="100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149A732C-BA8A-421E-A46E-78AC8139E131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7699375" y="4443414"/>
            <a:ext cx="1968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2F0B4340-58E6-4607-9444-1787738D2AAC}" type="datetime'7''''''''''''''''.''''''''''''''3'''''''''''''''">
              <a:rPr lang="en-US" altLang="en-US" sz="1000" smtClean="0">
                <a:solidFill>
                  <a:srgbClr val="000000"/>
                </a:solidFill>
                <a:latin typeface="+mn-lt"/>
                <a:ea typeface="+mn-ea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7.3</a:t>
            </a:fld>
            <a:endParaRPr kumimoji="0" lang="en-US" sz="100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58FE3A3E-97B8-4874-9524-9FFF2511130F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5630863" y="4457701"/>
            <a:ext cx="1968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671730A3-FDEE-4705-8721-EE58197CDB42}" type="datetime'''''''''''''''''''''''''''''''''''''''7''.''3'''">
              <a:rPr lang="en-US" altLang="en-US" sz="1000" smtClean="0">
                <a:solidFill>
                  <a:srgbClr val="000000"/>
                </a:solidFill>
                <a:latin typeface="+mn-lt"/>
                <a:ea typeface="+mn-ea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7.3</a:t>
            </a:fld>
            <a:endParaRPr kumimoji="0" lang="en-US" sz="100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D63F2AA3-E592-4574-9534-919CEC8FBC38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7551738" y="5934075"/>
            <a:ext cx="4921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7D8ADF18-6372-4103-87F0-503A118BD0E8}" type="datetime'''''''''''''''''''''''''Sun''''''''''''''''''da''y'''''''''">
              <a:rPr lang="en-GB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Sunday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5" name="Text Placeholder 20">
            <a:extLst>
              <a:ext uri="{FF2B5EF4-FFF2-40B4-BE49-F238E27FC236}">
                <a16:creationId xmlns:a16="http://schemas.microsoft.com/office/drawing/2014/main" id="{F5E92760-B13D-4A6A-9490-2F682D29F74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1492250" y="4525964"/>
            <a:ext cx="1968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F080F5C0-98E9-476C-8E73-A7E0F551EC31}" type="datetime'''6''''.''''''''''''''''''''''''''''9'''''''''''">
              <a:rPr lang="en-US" altLang="en-US" sz="1000" smtClean="0">
                <a:solidFill>
                  <a:srgbClr val="000000"/>
                </a:solidFill>
                <a:latin typeface="+mn-lt"/>
                <a:ea typeface="+mn-ea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6.9</a:t>
            </a:fld>
            <a:endParaRPr kumimoji="0" lang="en-US" sz="100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7F5848A1-5001-41A5-99FB-2779027763E3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2527300" y="4459289"/>
            <a:ext cx="1968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938C1B89-306F-431D-9AB5-4007E9B2CBF5}" type="datetime'''''''''''''''''7''''''''''''''.''''''''2'''''''''''''''">
              <a:rPr lang="en-US" altLang="en-US" sz="1000" smtClean="0">
                <a:solidFill>
                  <a:srgbClr val="000000"/>
                </a:solidFill>
                <a:latin typeface="+mn-lt"/>
                <a:ea typeface="+mn-ea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7.2</a:t>
            </a:fld>
            <a:endParaRPr kumimoji="0" lang="en-US" sz="100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3219DED9-B09A-4FCA-9E49-663E3DD40703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3560763" y="4330701"/>
            <a:ext cx="1968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A0ECA9D3-BDD8-40C1-938E-15141C119558}" type="datetime'''''''''''''''''''''''''''''8''''''.''''''''''0'''''''''''">
              <a:rPr lang="en-US" altLang="en-US" sz="1000" smtClean="0">
                <a:solidFill>
                  <a:srgbClr val="000000"/>
                </a:solidFill>
                <a:latin typeface="+mn-lt"/>
                <a:ea typeface="+mn-ea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8.0</a:t>
            </a:fld>
            <a:endParaRPr kumimoji="0" lang="en-US" sz="100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602B6901-03AE-4E3C-917D-48645EFC796E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4595813" y="4554539"/>
            <a:ext cx="1968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2DE20DA1-C56B-41D8-B4B9-2F4A85C3BE47}" type="datetime'''''''''6''''''.''''''''''''''''''''''''''''''''''7'''''''">
              <a:rPr lang="en-US" altLang="en-US" sz="1000" smtClean="0">
                <a:solidFill>
                  <a:srgbClr val="000000"/>
                </a:solidFill>
                <a:latin typeface="+mn-lt"/>
                <a:ea typeface="+mn-ea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6.7</a:t>
            </a:fld>
            <a:endParaRPr kumimoji="0" lang="en-US" sz="100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graphicFrame>
        <p:nvGraphicFramePr>
          <p:cNvPr id="84" name="Chart 83">
            <a:extLst>
              <a:ext uri="{FF2B5EF4-FFF2-40B4-BE49-F238E27FC236}">
                <a16:creationId xmlns:a16="http://schemas.microsoft.com/office/drawing/2014/main" id="{0457CC09-4E2D-45AD-8587-63E635514809}"/>
              </a:ext>
            </a:extLst>
          </p:cNvPr>
          <p:cNvGraphicFramePr/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97579583"/>
              </p:ext>
            </p:extLst>
          </p:nvPr>
        </p:nvGraphicFramePr>
        <p:xfrm>
          <a:off x="992188" y="1841500"/>
          <a:ext cx="7407275" cy="1563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0"/>
          </a:graphicData>
        </a:graphic>
      </p:graphicFrame>
      <p:sp>
        <p:nvSpPr>
          <p:cNvPr id="50" name="Text Placeholder 20">
            <a:extLst>
              <a:ext uri="{FF2B5EF4-FFF2-40B4-BE49-F238E27FC236}">
                <a16:creationId xmlns:a16="http://schemas.microsoft.com/office/drawing/2014/main" id="{7B9BDCFD-4A0B-4229-B49C-B29AFD5C4583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3532188" y="2652714"/>
            <a:ext cx="2555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86CECA6E-539D-449C-AF61-07DC08482AF6}" type="datetime'1''''4''''''''''''''''''''''%'''''''''''''''''''''''''">
              <a:rPr lang="en-US" altLang="en-US" sz="1000" smtClean="0">
                <a:solidFill>
                  <a:srgbClr val="000000"/>
                </a:solidFill>
                <a:effectLst/>
                <a:latin typeface="+mn-lt"/>
                <a:ea typeface="+mn-ea"/>
              </a:rPr>
              <a:pPr/>
              <a:t>14%</a:t>
            </a:fld>
            <a:endParaRPr kumimoji="0" lang="en-US" sz="100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49" name="Text Placeholder 20">
            <a:extLst>
              <a:ext uri="{FF2B5EF4-FFF2-40B4-BE49-F238E27FC236}">
                <a16:creationId xmlns:a16="http://schemas.microsoft.com/office/drawing/2014/main" id="{9143C362-4926-41C5-BC46-6DDFB2517C1E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1463675" y="2717801"/>
            <a:ext cx="2555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A7B5947D-5E43-4B1E-B44B-D4AE9EC3CD2D}" type="datetime'''1''''''''''''''''''''''''''''3''''''''''''''%'''''''''">
              <a:rPr lang="en-US" altLang="en-US" sz="1000" smtClean="0">
                <a:solidFill>
                  <a:srgbClr val="000000"/>
                </a:solidFill>
                <a:effectLst/>
                <a:latin typeface="+mn-lt"/>
                <a:ea typeface="+mn-ea"/>
              </a:rPr>
              <a:pPr/>
              <a:t>13%</a:t>
            </a:fld>
            <a:endParaRPr kumimoji="0" lang="en-US" sz="100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41" name="Text Placeholder 20">
            <a:extLst>
              <a:ext uri="{FF2B5EF4-FFF2-40B4-BE49-F238E27FC236}">
                <a16:creationId xmlns:a16="http://schemas.microsoft.com/office/drawing/2014/main" id="{4176CDDE-D9A2-4BB8-B04A-0BD5A28DFCFD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3286125" y="3365500"/>
            <a:ext cx="7477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B81968CD-FF76-44E1-BA7E-380C9E95B511}" type="datetime'''''W''e''''''''''''dn''''''''e''''''s''''''d''a''y'''''''''">
              <a:rPr lang="en-GB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Wednesday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7" name="Text Placeholder 20">
            <a:extLst>
              <a:ext uri="{FF2B5EF4-FFF2-40B4-BE49-F238E27FC236}">
                <a16:creationId xmlns:a16="http://schemas.microsoft.com/office/drawing/2014/main" id="{C10155B9-B3C3-4624-B812-113307F4FB0F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336675" y="3365500"/>
            <a:ext cx="5080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DF0848E6-F844-4E4B-B53F-ABA11FD8DD37}" type="datetime'''''''''''''''''''''''''M''o''''''''''''''''''n''d''ay'''''''">
              <a:rPr lang="en-GB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Monday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3" name="Text Placeholder 20">
            <a:extLst>
              <a:ext uri="{FF2B5EF4-FFF2-40B4-BE49-F238E27FC236}">
                <a16:creationId xmlns:a16="http://schemas.microsoft.com/office/drawing/2014/main" id="{83AF3508-DBAC-45C6-8CDE-F6E047B41BF6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2498725" y="2668589"/>
            <a:ext cx="2555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1D034C87-4F83-435A-921D-98C0B39E228A}" type="datetime'''''1''4''''''%'">
              <a:rPr lang="en-US" altLang="en-US" sz="1000" smtClean="0">
                <a:solidFill>
                  <a:srgbClr val="000000"/>
                </a:solidFill>
                <a:effectLst/>
                <a:latin typeface="+mn-lt"/>
                <a:ea typeface="+mn-ea"/>
              </a:rPr>
              <a:pPr/>
              <a:t>14%</a:t>
            </a:fld>
            <a:endParaRPr kumimoji="0" lang="en-US" sz="100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39" name="Text Placeholder 20">
            <a:extLst>
              <a:ext uri="{FF2B5EF4-FFF2-40B4-BE49-F238E27FC236}">
                <a16:creationId xmlns:a16="http://schemas.microsoft.com/office/drawing/2014/main" id="{7DC2FB34-E338-4D35-B7E1-4B86A9DF2756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2354263" y="3365500"/>
            <a:ext cx="5445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FE752F7F-649B-47FC-B8D5-07EEFFB156A5}" type="datetime'''T''''''''''''''''''ue''''s''''''''''''d''''''''''a''''y'''''">
              <a:rPr lang="en-GB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Tuesday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8" name="Text Placeholder 20">
            <a:extLst>
              <a:ext uri="{FF2B5EF4-FFF2-40B4-BE49-F238E27FC236}">
                <a16:creationId xmlns:a16="http://schemas.microsoft.com/office/drawing/2014/main" id="{6FD5AB40-66B2-45AC-B8EE-8811858CFD79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4392613" y="3365500"/>
            <a:ext cx="6032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13DFD2D4-2642-4465-A7A2-D95EC17B9A8D}" type="datetime'''T''''h''''''''''ur''''''s''''''''''''''''''d''''''a''y'''''">
              <a:rPr lang="en-GB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Thursday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42" name="Text Placeholder 20">
            <a:extLst>
              <a:ext uri="{FF2B5EF4-FFF2-40B4-BE49-F238E27FC236}">
                <a16:creationId xmlns:a16="http://schemas.microsoft.com/office/drawing/2014/main" id="{2EC0335F-DE74-4504-A663-CFD6F386FE74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4567238" y="2646364"/>
            <a:ext cx="2555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7B4E5C8E-87FE-4735-B5EF-F1BFA9EB5F21}" type="datetime'''''''''''''''1''''''''4''''''''''''''''''%'''">
              <a:rPr lang="en-US" altLang="en-US" sz="1000" smtClean="0">
                <a:solidFill>
                  <a:srgbClr val="000000"/>
                </a:solidFill>
                <a:effectLst/>
                <a:latin typeface="+mn-lt"/>
                <a:ea typeface="+mn-ea"/>
              </a:rPr>
              <a:pPr/>
              <a:t>14%</a:t>
            </a:fld>
            <a:endParaRPr kumimoji="0" lang="en-US" sz="100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44" name="Text Placeholder 20">
            <a:extLst>
              <a:ext uri="{FF2B5EF4-FFF2-40B4-BE49-F238E27FC236}">
                <a16:creationId xmlns:a16="http://schemas.microsoft.com/office/drawing/2014/main" id="{E435AFC7-DCF0-4BAF-9FDA-90484253550F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3544888" y="1958976"/>
            <a:ext cx="2301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5496A1D5-CD8B-4C12-AD76-11D53C7D97F0}" type="datetime'''''''''8''''''''''''''4''''''''''''''''''''''''''9'''">
              <a:rPr lang="en-US" altLang="en-US" sz="1000" smtClean="0">
                <a:solidFill>
                  <a:srgbClr val="000000"/>
                </a:solidFill>
                <a:latin typeface="+mn-lt"/>
                <a:ea typeface="+mn-ea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849</a:t>
            </a:fld>
            <a:endParaRPr kumimoji="0" lang="en-US" sz="100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52" name="Text Placeholder 20">
            <a:extLst>
              <a:ext uri="{FF2B5EF4-FFF2-40B4-BE49-F238E27FC236}">
                <a16:creationId xmlns:a16="http://schemas.microsoft.com/office/drawing/2014/main" id="{B207B179-C5E7-4E2A-8348-2D93B53E4733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6637338" y="2554289"/>
            <a:ext cx="2555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51B4F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A054D7A5-C4C3-478E-995A-43D6EF32007F}" type="datetime'''1''''''''''''''''''''''''''''''''''''''6%'''''''''''''">
              <a:rPr lang="en-US" altLang="en-US" sz="1000" smtClean="0">
                <a:solidFill>
                  <a:srgbClr val="FFFFFF"/>
                </a:solidFill>
                <a:effectLst/>
                <a:latin typeface="+mn-lt"/>
                <a:ea typeface="+mn-ea"/>
              </a:rPr>
              <a:pPr/>
              <a:t>16%</a:t>
            </a:fld>
            <a:endParaRPr kumimoji="0" lang="en-US" sz="100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51" name="Text Placeholder 20">
            <a:extLst>
              <a:ext uri="{FF2B5EF4-FFF2-40B4-BE49-F238E27FC236}">
                <a16:creationId xmlns:a16="http://schemas.microsoft.com/office/drawing/2014/main" id="{2A660BA6-5FCA-4811-8D0D-72F9A8256C23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5602288" y="2662239"/>
            <a:ext cx="2555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5F68981D-9F4B-4EDB-93EB-7988AFAA085F}" type="datetime'''''''''''''14''''''''''''%'''">
              <a:rPr lang="en-US" altLang="en-US" sz="1000" smtClean="0">
                <a:solidFill>
                  <a:srgbClr val="000000"/>
                </a:solidFill>
                <a:effectLst/>
                <a:latin typeface="+mn-lt"/>
                <a:ea typeface="+mn-ea"/>
              </a:rPr>
              <a:pPr/>
              <a:t>14%</a:t>
            </a:fld>
            <a:endParaRPr kumimoji="0" lang="en-US" sz="100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36" name="Text Placeholder 20">
            <a:extLst>
              <a:ext uri="{FF2B5EF4-FFF2-40B4-BE49-F238E27FC236}">
                <a16:creationId xmlns:a16="http://schemas.microsoft.com/office/drawing/2014/main" id="{D39FE1ED-09E8-47A4-8577-9E11E3827D78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5527675" y="3365500"/>
            <a:ext cx="4048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2F9B6ED3-F28E-443B-9005-124CA429CFC7}" type="datetime'''''''F''''''''ri''''''''d''''a''''''''''''''''y'''">
              <a:rPr lang="en-GB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Friday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D5C86CFC-B1AC-4DB9-B679-4F57BB5C7700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6469063" y="3365500"/>
            <a:ext cx="5921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69919FF3-EE63-4828-956C-EA95CBDFD7A3}" type="datetime'''S''''''a''''''''t''''''ur''''''''d''a''''''''''y'''">
              <a:rPr lang="en-GB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Saturday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45" name="Text Placeholder 20">
            <a:extLst>
              <a:ext uri="{FF2B5EF4-FFF2-40B4-BE49-F238E27FC236}">
                <a16:creationId xmlns:a16="http://schemas.microsoft.com/office/drawing/2014/main" id="{6FE69ACE-F18B-48A5-B003-C280CBFFBC88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4579938" y="1946276"/>
            <a:ext cx="2301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CDB0ADA7-1EC9-4ECC-AAEE-6F5AB3C726E0}" type="datetime'''''8''''''''''''''''''''''58'''''''''">
              <a:rPr lang="en-US" altLang="en-US" sz="1000" smtClean="0">
                <a:solidFill>
                  <a:srgbClr val="000000"/>
                </a:solidFill>
                <a:latin typeface="+mn-lt"/>
                <a:ea typeface="+mn-ea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858</a:t>
            </a:fld>
            <a:endParaRPr kumimoji="0" lang="en-US" sz="100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53" name="Text Placeholder 20">
            <a:extLst>
              <a:ext uri="{FF2B5EF4-FFF2-40B4-BE49-F238E27FC236}">
                <a16:creationId xmlns:a16="http://schemas.microsoft.com/office/drawing/2014/main" id="{1AE62BF9-8EA7-4A7C-A962-EE34883448A8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7670800" y="2617789"/>
            <a:ext cx="2555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4B8077B9-5405-4C58-B78F-8877AC66EFBC}" type="datetime'1''''''''''5''''''''''''''''''%'''''''''''''''''''''">
              <a:rPr lang="en-US" altLang="en-US" sz="1000" smtClean="0">
                <a:solidFill>
                  <a:srgbClr val="000000"/>
                </a:solidFill>
                <a:effectLst/>
                <a:latin typeface="+mn-lt"/>
                <a:ea typeface="+mn-ea"/>
              </a:rPr>
              <a:pPr/>
              <a:t>15%</a:t>
            </a:fld>
            <a:endParaRPr kumimoji="0" lang="en-US" sz="100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43" name="Text Placeholder 20">
            <a:extLst>
              <a:ext uri="{FF2B5EF4-FFF2-40B4-BE49-F238E27FC236}">
                <a16:creationId xmlns:a16="http://schemas.microsoft.com/office/drawing/2014/main" id="{02B9AF91-9D81-44ED-8439-BC3ABF3EE637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7551738" y="3365500"/>
            <a:ext cx="4921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079E4906-8CD0-48D8-8C70-950C085A6A1E}" type="datetime'''''Su''''''n''d''''''''''''''''a''''''''''''''''''y'''''''">
              <a:rPr lang="en-GB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Sunday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40" name="Text Placeholder 20">
            <a:extLst>
              <a:ext uri="{FF2B5EF4-FFF2-40B4-BE49-F238E27FC236}">
                <a16:creationId xmlns:a16="http://schemas.microsoft.com/office/drawing/2014/main" id="{CC5836C1-2EB3-453B-AB38-8BA7ACC65F2B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1476375" y="2089151"/>
            <a:ext cx="2301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7E013B47-60CE-44CC-8AA3-751C35763E36}" type="datetime'''7''5''''''''''''''''''''''''7'''''''''''">
              <a:rPr lang="en-US" altLang="en-US" sz="1000" smtClean="0">
                <a:solidFill>
                  <a:srgbClr val="000000"/>
                </a:solidFill>
                <a:latin typeface="+mn-lt"/>
                <a:ea typeface="+mn-ea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757</a:t>
            </a:fld>
            <a:endParaRPr kumimoji="0" lang="en-US" sz="100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35" name="Text Placeholder 20">
            <a:extLst>
              <a:ext uri="{FF2B5EF4-FFF2-40B4-BE49-F238E27FC236}">
                <a16:creationId xmlns:a16="http://schemas.microsoft.com/office/drawing/2014/main" id="{E18D9A65-F885-4B62-AA0D-9FC6150D78F1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2511425" y="1989139"/>
            <a:ext cx="2301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37E83781-FB69-443E-85CB-B1C6FBE8FE9C}" type="datetime'''''''''''''''''''''''8''''''''''''''''''''2''''''''''7'">
              <a:rPr lang="en-US" altLang="en-US" sz="1000" smtClean="0">
                <a:solidFill>
                  <a:srgbClr val="000000"/>
                </a:solidFill>
                <a:latin typeface="+mn-lt"/>
                <a:ea typeface="+mn-ea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827</a:t>
            </a:fld>
            <a:endParaRPr kumimoji="0" lang="en-US" sz="100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47" name="Text Placeholder 20">
            <a:extLst>
              <a:ext uri="{FF2B5EF4-FFF2-40B4-BE49-F238E27FC236}">
                <a16:creationId xmlns:a16="http://schemas.microsoft.com/office/drawing/2014/main" id="{48A560BD-69A9-4242-B1EF-7A4294DEDAE2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6650038" y="1762126"/>
            <a:ext cx="2301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9CD14E8B-6B96-40F2-9892-03D948F44D34}" type="datetime'''9''''''8''''''''''''8'''''''''''">
              <a:rPr lang="en-US" altLang="en-US" sz="1000" smtClean="0">
                <a:solidFill>
                  <a:srgbClr val="000000"/>
                </a:solidFill>
                <a:latin typeface="+mn-lt"/>
                <a:ea typeface="+mn-ea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988</a:t>
            </a:fld>
            <a:endParaRPr kumimoji="0" lang="en-US" sz="100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46" name="Text Placeholder 20">
            <a:extLst>
              <a:ext uri="{FF2B5EF4-FFF2-40B4-BE49-F238E27FC236}">
                <a16:creationId xmlns:a16="http://schemas.microsoft.com/office/drawing/2014/main" id="{6A7B27B7-59F7-44E0-BD25-94C8E95D7BD8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5614988" y="1976439"/>
            <a:ext cx="2301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E0A1C833-2B55-4B5D-86E8-D93989A5DDBE}" type="datetime'8''''''''''''''''''''''''''''''''''''''''3''''''''''7'''">
              <a:rPr lang="en-US" altLang="en-US" sz="1000" smtClean="0">
                <a:solidFill>
                  <a:srgbClr val="000000"/>
                </a:solidFill>
                <a:latin typeface="+mn-lt"/>
                <a:ea typeface="+mn-ea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837</a:t>
            </a:fld>
            <a:endParaRPr kumimoji="0" lang="en-US" sz="100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48" name="Text Placeholder 20">
            <a:extLst>
              <a:ext uri="{FF2B5EF4-FFF2-40B4-BE49-F238E27FC236}">
                <a16:creationId xmlns:a16="http://schemas.microsoft.com/office/drawing/2014/main" id="{585AD08A-E133-468E-8809-FF4CA4C60A60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7683500" y="1887539"/>
            <a:ext cx="2301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F1F91B80-91BD-4D86-B0B2-80B7196B49E9}" type="datetime'''''9''''''''''''''''''''''''''0''''''''''''''0'''">
              <a:rPr lang="en-US" altLang="en-US" sz="1000" smtClean="0">
                <a:solidFill>
                  <a:srgbClr val="000000"/>
                </a:solidFill>
                <a:latin typeface="+mn-lt"/>
                <a:ea typeface="+mn-ea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900</a:t>
            </a:fld>
            <a:endParaRPr kumimoji="0" lang="en-US" sz="100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1598EE16-351D-43CC-94D0-8690C7F40C7A}"/>
              </a:ext>
            </a:extLst>
          </p:cNvPr>
          <p:cNvSpPr/>
          <p:nvPr/>
        </p:nvSpPr>
        <p:spPr>
          <a:xfrm>
            <a:off x="754406" y="1347709"/>
            <a:ext cx="885636" cy="342201"/>
          </a:xfrm>
          <a:prstGeom prst="rect">
            <a:avLst/>
          </a:prstGeom>
          <a:solidFill>
            <a:srgbClr val="B51B4F"/>
          </a:solidFill>
          <a:ln>
            <a:solidFill>
              <a:srgbClr val="808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eak sales</a:t>
            </a:r>
          </a:p>
        </p:txBody>
      </p:sp>
      <p:sp>
        <p:nvSpPr>
          <p:cNvPr id="148" name="Slide Number Placeholder 147">
            <a:extLst>
              <a:ext uri="{FF2B5EF4-FFF2-40B4-BE49-F238E27FC236}">
                <a16:creationId xmlns:a16="http://schemas.microsoft.com/office/drawing/2014/main" id="{819AF64F-DE7B-492F-9040-AF5ACCF4D2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6D2641-81B4-4FA9-AABA-CD0BE301EB4F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163019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9FBDCD-8AFA-4187-9760-F291DAA622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4452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9" imgW="378" imgH="377" progId="TCLayout.ActiveDocument.1">
                  <p:embed/>
                </p:oleObj>
              </mc:Choice>
              <mc:Fallback>
                <p:oleObj name="think-cell Slide" r:id="rId69" imgW="378" imgH="37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9FBDCD-8AFA-4187-9760-F291DAA622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D8FAFC92-18B7-49DE-AAC3-D2B7F9C3702B}"/>
              </a:ext>
            </a:extLst>
          </p:cNvPr>
          <p:cNvSpPr txBox="1"/>
          <p:nvPr/>
        </p:nvSpPr>
        <p:spPr>
          <a:xfrm>
            <a:off x="688185" y="556502"/>
            <a:ext cx="7410786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ITC Avant Garde Pro Md" panose="020B0602020202020204" pitchFamily="34" charset="0"/>
              </a:rPr>
              <a:t>Offline vs. Online by day of week and by cit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1BB43B2-8756-4C3E-93B0-253FACE8C63F}"/>
              </a:ext>
            </a:extLst>
          </p:cNvPr>
          <p:cNvSpPr txBox="1"/>
          <p:nvPr/>
        </p:nvSpPr>
        <p:spPr>
          <a:xfrm>
            <a:off x="788122" y="3919931"/>
            <a:ext cx="20378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ITC Avant Garde Pro Bk" panose="020B0502020202020204" pitchFamily="34" charset="0"/>
              </a:rPr>
              <a:t>Offline vs. Onlin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3C7766D-E193-4077-80FA-33056F2BB974}"/>
              </a:ext>
            </a:extLst>
          </p:cNvPr>
          <p:cNvCxnSpPr>
            <a:cxnSpLocks/>
          </p:cNvCxnSpPr>
          <p:nvPr/>
        </p:nvCxnSpPr>
        <p:spPr>
          <a:xfrm>
            <a:off x="688185" y="1082000"/>
            <a:ext cx="1101613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BA1474CB-314B-461D-A6E8-1519E71136F6}"/>
              </a:ext>
            </a:extLst>
          </p:cNvPr>
          <p:cNvSpPr txBox="1"/>
          <p:nvPr/>
        </p:nvSpPr>
        <p:spPr bwMode="gray">
          <a:xfrm>
            <a:off x="688185" y="1245178"/>
            <a:ext cx="7739853" cy="2453697"/>
          </a:xfrm>
          <a:prstGeom prst="rect">
            <a:avLst/>
          </a:prstGeom>
          <a:ln>
            <a:solidFill>
              <a:srgbClr val="797878"/>
            </a:solidFill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verage offline weekly sales by day of week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(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n million tenge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5DC0D35-4503-4785-BD35-F7F85BE18EC2}"/>
              </a:ext>
            </a:extLst>
          </p:cNvPr>
          <p:cNvSpPr txBox="1"/>
          <p:nvPr/>
        </p:nvSpPr>
        <p:spPr bwMode="gray">
          <a:xfrm>
            <a:off x="688185" y="3818164"/>
            <a:ext cx="7739853" cy="2558595"/>
          </a:xfrm>
          <a:prstGeom prst="rect">
            <a:avLst/>
          </a:prstGeom>
          <a:ln>
            <a:solidFill>
              <a:srgbClr val="797878"/>
            </a:solidFill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verage online weekly sales by day of week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(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n million tenge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)</a:t>
            </a:r>
          </a:p>
        </p:txBody>
      </p:sp>
      <p:graphicFrame>
        <p:nvGraphicFramePr>
          <p:cNvPr id="92" name="Chart 91">
            <a:extLst>
              <a:ext uri="{FF2B5EF4-FFF2-40B4-BE49-F238E27FC236}">
                <a16:creationId xmlns:a16="http://schemas.microsoft.com/office/drawing/2014/main" id="{E8B8F604-B410-4E91-B1B2-9D3ACE4515A0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992188" y="4410075"/>
          <a:ext cx="7407275" cy="1563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1"/>
          </a:graphicData>
        </a:graphic>
      </p:graphicFrame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F1447628-F489-4617-8150-99CD6F7BEAC4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2498725" y="5187951"/>
            <a:ext cx="2555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6F01B13F-C82E-4743-BAF9-28C7BB442FEF}" type="datetime'''''''''''''''''''''1''''''''''''''''4%'''''''''''">
              <a:rPr lang="en-US" altLang="en-US" sz="1000" smtClean="0">
                <a:solidFill>
                  <a:srgbClr val="000000"/>
                </a:solidFill>
                <a:effectLst/>
                <a:latin typeface="+mn-lt"/>
                <a:ea typeface="+mn-ea"/>
              </a:rPr>
              <a:pPr/>
              <a:t>14%</a:t>
            </a:fld>
            <a:endParaRPr kumimoji="0" lang="en-US" sz="100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B916B6AA-BFD8-47E2-B563-FBA092BF52A7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463675" y="5221289"/>
            <a:ext cx="2555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78E6B006-C1E5-4125-A5B1-D0C9219F573E}" type="datetime'''''''1''''''''''''''''''''''''3''''''''''''''%'''">
              <a:rPr lang="en-US" altLang="en-US" sz="1000" smtClean="0">
                <a:solidFill>
                  <a:srgbClr val="000000"/>
                </a:solidFill>
                <a:effectLst/>
                <a:latin typeface="+mn-lt"/>
                <a:ea typeface="+mn-ea"/>
              </a:rPr>
              <a:pPr/>
              <a:t>13%</a:t>
            </a:fld>
            <a:endParaRPr kumimoji="0" lang="en-US" sz="100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13EF5275-B9E3-45C1-BF2A-45C89E755EB6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286125" y="5934075"/>
            <a:ext cx="7477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D6A1B0AD-9064-4159-A31F-1AF5213BDC59}" type="datetime'''''''''''''''''''''''''''''''We''d''''nes''''''d''a''y'''''''">
              <a:rPr lang="en-GB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Wednesday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EECF27C2-FB38-4C26-9E62-003EA17131C8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336675" y="5934075"/>
            <a:ext cx="5080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969330BD-FFC4-419D-8A32-FFEFB9CAFB85}" type="datetime'''''''''''''''''''Mo''n''d''''''''a''''y'''''''">
              <a:rPr lang="en-GB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Monday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8" name="Text Placeholder 20">
            <a:extLst>
              <a:ext uri="{FF2B5EF4-FFF2-40B4-BE49-F238E27FC236}">
                <a16:creationId xmlns:a16="http://schemas.microsoft.com/office/drawing/2014/main" id="{5546A420-43B9-46DE-A7CA-714F1F61AC86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3532188" y="5122864"/>
            <a:ext cx="2555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51B4F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C627684D-1150-47F0-BF9C-5AD4C0813401}" type="datetime'1''''6''''%'''''''''''''''''''''''''''''''''''''">
              <a:rPr lang="en-US" altLang="en-US" sz="1000" smtClean="0">
                <a:solidFill>
                  <a:srgbClr val="FFFFFF"/>
                </a:solidFill>
                <a:effectLst/>
                <a:latin typeface="+mn-lt"/>
                <a:ea typeface="+mn-ea"/>
              </a:rPr>
              <a:pPr/>
              <a:t>16%</a:t>
            </a:fld>
            <a:endParaRPr kumimoji="0" lang="en-US" sz="100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2B56E4B5-6045-4B96-B297-0BA24EC210FB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354263" y="5934075"/>
            <a:ext cx="5445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323F37B1-69A2-44FC-BC4C-D589E1A2367B}" type="datetime'''''''''T''''''u''''es''d''''''''a''''''''''''''y'''''''''''''">
              <a:rPr lang="en-GB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Tuesday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2142A620-C8F6-4D3D-9454-4178128E5B5C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567238" y="5235576"/>
            <a:ext cx="2555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8D5D0545-545D-47F7-8828-C32D24E0A157}" type="datetime'1''''''''''''''3''''''''''''''''''''''''''''''''''%'">
              <a:rPr lang="en-US" altLang="en-US" sz="1000" smtClean="0">
                <a:solidFill>
                  <a:srgbClr val="000000"/>
                </a:solidFill>
                <a:effectLst/>
                <a:latin typeface="+mn-lt"/>
                <a:ea typeface="+mn-ea"/>
              </a:rPr>
              <a:pPr/>
              <a:t>13%</a:t>
            </a:fld>
            <a:endParaRPr kumimoji="0" lang="en-US" sz="100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63EB175A-2FC4-41AD-A98C-68A3F3B297A9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392613" y="5934075"/>
            <a:ext cx="6032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6DE40CA2-7D61-45BB-AB57-7E13750A2991}" type="datetime'Th''''u''r''''''''s''''''''''''''''d''''''''''a''''''''''y'">
              <a:rPr lang="en-GB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Thursday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29" name="Text Placeholder 20">
            <a:extLst>
              <a:ext uri="{FF2B5EF4-FFF2-40B4-BE49-F238E27FC236}">
                <a16:creationId xmlns:a16="http://schemas.microsoft.com/office/drawing/2014/main" id="{2AF3C50A-7C43-4105-ADC6-25CD05C38425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5602288" y="5186364"/>
            <a:ext cx="2555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1235F204-0574-456F-9FD5-206DF2E705FF}" type="datetime'''''''''''''''''''1''''''''''''''''''''''4''''''%'">
              <a:rPr lang="en-US" altLang="en-US" sz="1000" smtClean="0">
                <a:solidFill>
                  <a:srgbClr val="000000"/>
                </a:solidFill>
                <a:effectLst/>
                <a:latin typeface="+mn-lt"/>
                <a:ea typeface="+mn-ea"/>
              </a:rPr>
              <a:pPr/>
              <a:t>14%</a:t>
            </a:fld>
            <a:endParaRPr kumimoji="0" lang="en-US" sz="100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17" name="Text Placeholder 20">
            <a:extLst>
              <a:ext uri="{FF2B5EF4-FFF2-40B4-BE49-F238E27FC236}">
                <a16:creationId xmlns:a16="http://schemas.microsoft.com/office/drawing/2014/main" id="{61EA3573-3D57-4CA4-AB25-0BD13C5CEE32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527675" y="5934075"/>
            <a:ext cx="4048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106294B3-2F9D-465E-BFBA-10C60CBF118E}" type="datetime'''''''F''''''''''r''''''''''i''''d''''a''''y'''''''''''''''">
              <a:rPr lang="en-GB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Friday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0" name="Text Placeholder 20">
            <a:extLst>
              <a:ext uri="{FF2B5EF4-FFF2-40B4-BE49-F238E27FC236}">
                <a16:creationId xmlns:a16="http://schemas.microsoft.com/office/drawing/2014/main" id="{63F2D219-C9EE-4D25-85DC-A04948BACC27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6637338" y="5165726"/>
            <a:ext cx="2555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40CC4C7D-0E0E-457A-82AE-32EB744077DF}" type="datetime'1''''''''''''''''''''''''5%'''">
              <a:rPr lang="en-US" altLang="en-US" sz="1000" smtClean="0">
                <a:solidFill>
                  <a:srgbClr val="000000"/>
                </a:solidFill>
                <a:effectLst/>
                <a:latin typeface="+mn-lt"/>
                <a:ea typeface="+mn-ea"/>
              </a:rPr>
              <a:pPr/>
              <a:t>15%</a:t>
            </a:fld>
            <a:endParaRPr kumimoji="0" lang="en-US" sz="100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20" name="Text Placeholder 20">
            <a:extLst>
              <a:ext uri="{FF2B5EF4-FFF2-40B4-BE49-F238E27FC236}">
                <a16:creationId xmlns:a16="http://schemas.microsoft.com/office/drawing/2014/main" id="{C336A11D-7858-4709-B63B-F7943906DBA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6469063" y="5934075"/>
            <a:ext cx="5921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D949E41F-5975-41CB-A539-98EAB60C79D1}" type="datetime'S''a''''''t''''''''ur''''''''d''a''''''''''''''y'''''''''''">
              <a:rPr lang="en-GB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Saturday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03249D67-9C7B-4F7F-9DE8-71C3BC1AE636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7670800" y="5180014"/>
            <a:ext cx="2555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2D584C29-5987-473F-94B2-4DA152180143}" type="datetime'1''''''''''''4''''''''''''''''''%'''''''''''''''''''">
              <a:rPr lang="en-US" altLang="en-US" sz="1000" smtClean="0">
                <a:solidFill>
                  <a:srgbClr val="000000"/>
                </a:solidFill>
                <a:effectLst/>
                <a:latin typeface="+mn-lt"/>
                <a:ea typeface="+mn-ea"/>
              </a:rPr>
              <a:pPr/>
              <a:t>14%</a:t>
            </a:fld>
            <a:endParaRPr kumimoji="0" lang="en-US" sz="100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3219DED9-B09A-4FCA-9E49-663E3DD40703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3560763" y="4330701"/>
            <a:ext cx="1968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A0ECA9D3-BDD8-40C1-938E-15141C119558}" type="datetime'''''''''''''''''''''''''''''8''''''.''''''''''0'''''''''''">
              <a:rPr lang="en-US" altLang="en-US" sz="1000" smtClean="0">
                <a:solidFill>
                  <a:srgbClr val="000000"/>
                </a:solidFill>
                <a:latin typeface="+mn-lt"/>
                <a:ea typeface="+mn-ea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8.0</a:t>
            </a:fld>
            <a:endParaRPr kumimoji="0" lang="en-US" sz="100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D63F2AA3-E592-4574-9534-919CEC8FBC38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7551738" y="5934075"/>
            <a:ext cx="4921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7D8ADF18-6372-4103-87F0-503A118BD0E8}" type="datetime'''''''''''''''''''''''''Sun''''''''''''''''''da''y'''''''''">
              <a:rPr lang="en-GB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Sunday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5" name="Text Placeholder 20">
            <a:extLst>
              <a:ext uri="{FF2B5EF4-FFF2-40B4-BE49-F238E27FC236}">
                <a16:creationId xmlns:a16="http://schemas.microsoft.com/office/drawing/2014/main" id="{F5E92760-B13D-4A6A-9490-2F682D29F74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1492250" y="4525964"/>
            <a:ext cx="1968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F080F5C0-98E9-476C-8E73-A7E0F551EC31}" type="datetime'''6''''.''''''''''''''''''''''''''''9'''''''''''">
              <a:rPr lang="en-US" altLang="en-US" sz="1000" smtClean="0">
                <a:solidFill>
                  <a:srgbClr val="000000"/>
                </a:solidFill>
                <a:latin typeface="+mn-lt"/>
                <a:ea typeface="+mn-ea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6.9</a:t>
            </a:fld>
            <a:endParaRPr kumimoji="0" lang="en-US" sz="100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7F5848A1-5001-41A5-99FB-2779027763E3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2527300" y="4459289"/>
            <a:ext cx="1968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938C1B89-306F-431D-9AB5-4007E9B2CBF5}" type="datetime'''''''''''''''''7''''''''''''''.''''''''2'''''''''''''''">
              <a:rPr lang="en-US" altLang="en-US" sz="1000" smtClean="0">
                <a:solidFill>
                  <a:srgbClr val="000000"/>
                </a:solidFill>
                <a:latin typeface="+mn-lt"/>
                <a:ea typeface="+mn-ea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7.2</a:t>
            </a:fld>
            <a:endParaRPr kumimoji="0" lang="en-US" sz="100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602B6901-03AE-4E3C-917D-48645EFC796E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595813" y="4554539"/>
            <a:ext cx="1968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2DE20DA1-C56B-41D8-B4B9-2F4A85C3BE47}" type="datetime'''''''''6''''''.''''''''''''''''''''''''''''''''''7'''''''">
              <a:rPr lang="en-US" altLang="en-US" sz="1000" smtClean="0">
                <a:solidFill>
                  <a:srgbClr val="000000"/>
                </a:solidFill>
                <a:latin typeface="+mn-lt"/>
                <a:ea typeface="+mn-ea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6.7</a:t>
            </a:fld>
            <a:endParaRPr kumimoji="0" lang="en-US" sz="100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58FE3A3E-97B8-4874-9524-9FFF2511130F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5630863" y="4457701"/>
            <a:ext cx="1968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671730A3-FDEE-4705-8721-EE58197CDB42}" type="datetime'''''''''''''''''''''''''''''''''''''''7''.''3'''">
              <a:rPr lang="en-US" altLang="en-US" sz="1000" smtClean="0">
                <a:solidFill>
                  <a:srgbClr val="000000"/>
                </a:solidFill>
                <a:latin typeface="+mn-lt"/>
                <a:ea typeface="+mn-ea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7.3</a:t>
            </a:fld>
            <a:endParaRPr kumimoji="0" lang="en-US" sz="100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043B73F8-DD79-4AAB-B05D-0EA00F01F323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6665913" y="4414839"/>
            <a:ext cx="1968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0625A029-2E86-4A68-BBD7-AC8A4A0783BD}" type="datetime'''''7''''''''.''5'''''''''''''''''''''''''''''''''''''''''">
              <a:rPr lang="en-US" altLang="en-US" sz="1000" smtClean="0">
                <a:solidFill>
                  <a:srgbClr val="000000"/>
                </a:solidFill>
                <a:latin typeface="+mn-lt"/>
                <a:ea typeface="+mn-ea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7.5</a:t>
            </a:fld>
            <a:endParaRPr kumimoji="0" lang="en-US" sz="100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149A732C-BA8A-421E-A46E-78AC8139E131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7699375" y="4443414"/>
            <a:ext cx="1968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2F0B4340-58E6-4607-9444-1787738D2AAC}" type="datetime'7''''''''''''''''.''''''''''''''3'''''''''''''''">
              <a:rPr lang="en-US" altLang="en-US" sz="1000" smtClean="0">
                <a:solidFill>
                  <a:srgbClr val="000000"/>
                </a:solidFill>
                <a:latin typeface="+mn-lt"/>
                <a:ea typeface="+mn-ea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7.3</a:t>
            </a:fld>
            <a:endParaRPr kumimoji="0" lang="en-US" sz="100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graphicFrame>
        <p:nvGraphicFramePr>
          <p:cNvPr id="84" name="Chart 83">
            <a:extLst>
              <a:ext uri="{FF2B5EF4-FFF2-40B4-BE49-F238E27FC236}">
                <a16:creationId xmlns:a16="http://schemas.microsoft.com/office/drawing/2014/main" id="{0457CC09-4E2D-45AD-8587-63E635514809}"/>
              </a:ext>
            </a:extLst>
          </p:cNvPr>
          <p:cNvGraphicFramePr/>
          <p:nvPr>
            <p:custDataLst>
              <p:tags r:id="rId24"/>
            </p:custDataLst>
          </p:nvPr>
        </p:nvGraphicFramePr>
        <p:xfrm>
          <a:off x="992188" y="1841500"/>
          <a:ext cx="7407275" cy="1563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2"/>
          </a:graphicData>
        </a:graphic>
      </p:graphicFrame>
      <p:sp>
        <p:nvSpPr>
          <p:cNvPr id="37" name="Text Placeholder 20">
            <a:extLst>
              <a:ext uri="{FF2B5EF4-FFF2-40B4-BE49-F238E27FC236}">
                <a16:creationId xmlns:a16="http://schemas.microsoft.com/office/drawing/2014/main" id="{C10155B9-B3C3-4624-B812-113307F4FB0F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336675" y="3365500"/>
            <a:ext cx="5080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DF0848E6-F844-4E4B-B53F-ABA11FD8DD37}" type="datetime'''''''''''''''''''''''''M''o''''''''''''''''''n''d''ay'''''''">
              <a:rPr lang="en-GB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Monday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8" name="Text Placeholder 20">
            <a:extLst>
              <a:ext uri="{FF2B5EF4-FFF2-40B4-BE49-F238E27FC236}">
                <a16:creationId xmlns:a16="http://schemas.microsoft.com/office/drawing/2014/main" id="{6FD5AB40-66B2-45AC-B8EE-8811858CFD79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4392613" y="3365500"/>
            <a:ext cx="6032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13DFD2D4-2642-4465-A7A2-D95EC17B9A8D}" type="datetime'''T''''h''''''''''ur''''''s''''''''''''''''''d''''''a''y'''''">
              <a:rPr lang="en-GB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Thursday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49" name="Text Placeholder 20">
            <a:extLst>
              <a:ext uri="{FF2B5EF4-FFF2-40B4-BE49-F238E27FC236}">
                <a16:creationId xmlns:a16="http://schemas.microsoft.com/office/drawing/2014/main" id="{9143C362-4926-41C5-BC46-6DDFB2517C1E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1463675" y="2717801"/>
            <a:ext cx="2555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A7B5947D-5E43-4B1E-B44B-D4AE9EC3CD2D}" type="datetime'''1''''''''''''''''''''''''''''3''''''''''''''%'''''''''">
              <a:rPr lang="en-US" altLang="en-US" sz="1000" smtClean="0">
                <a:solidFill>
                  <a:srgbClr val="000000"/>
                </a:solidFill>
                <a:effectLst/>
                <a:latin typeface="+mn-lt"/>
                <a:ea typeface="+mn-ea"/>
              </a:rPr>
              <a:pPr/>
              <a:t>13%</a:t>
            </a:fld>
            <a:endParaRPr kumimoji="0" lang="en-US" sz="100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33" name="Text Placeholder 20">
            <a:extLst>
              <a:ext uri="{FF2B5EF4-FFF2-40B4-BE49-F238E27FC236}">
                <a16:creationId xmlns:a16="http://schemas.microsoft.com/office/drawing/2014/main" id="{83AF3508-DBAC-45C6-8CDE-F6E047B41BF6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2498725" y="2668589"/>
            <a:ext cx="2555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1D034C87-4F83-435A-921D-98C0B39E228A}" type="datetime'''''1''4''''''%'">
              <a:rPr lang="en-US" altLang="en-US" sz="1000" smtClean="0">
                <a:solidFill>
                  <a:srgbClr val="000000"/>
                </a:solidFill>
                <a:effectLst/>
                <a:latin typeface="+mn-lt"/>
                <a:ea typeface="+mn-ea"/>
              </a:rPr>
              <a:pPr/>
              <a:t>14%</a:t>
            </a:fld>
            <a:endParaRPr kumimoji="0" lang="en-US" sz="100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41" name="Text Placeholder 20">
            <a:extLst>
              <a:ext uri="{FF2B5EF4-FFF2-40B4-BE49-F238E27FC236}">
                <a16:creationId xmlns:a16="http://schemas.microsoft.com/office/drawing/2014/main" id="{4176CDDE-D9A2-4BB8-B04A-0BD5A28DFCFD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3286125" y="3365500"/>
            <a:ext cx="7477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B81968CD-FF76-44E1-BA7E-380C9E95B511}" type="datetime'''''W''e''''''''''''dn''''''''e''''''s''''''d''a''y'''''''''">
              <a:rPr lang="en-GB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Wednesday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9" name="Text Placeholder 20">
            <a:extLst>
              <a:ext uri="{FF2B5EF4-FFF2-40B4-BE49-F238E27FC236}">
                <a16:creationId xmlns:a16="http://schemas.microsoft.com/office/drawing/2014/main" id="{7DC2FB34-E338-4D35-B7E1-4B86A9DF2756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2354263" y="3365500"/>
            <a:ext cx="5445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FE752F7F-649B-47FC-B8D5-07EEFFB156A5}" type="datetime'''T''''''''''''''''''ue''''s''''''''''''d''''''''''a''''y'''''">
              <a:rPr lang="en-GB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Tuesday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42" name="Text Placeholder 20">
            <a:extLst>
              <a:ext uri="{FF2B5EF4-FFF2-40B4-BE49-F238E27FC236}">
                <a16:creationId xmlns:a16="http://schemas.microsoft.com/office/drawing/2014/main" id="{2EC0335F-DE74-4504-A663-CFD6F386FE74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4567238" y="2646364"/>
            <a:ext cx="2555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7B4E5C8E-87FE-4735-B5EF-F1BFA9EB5F21}" type="datetime'''''''''''''''1''''''''4''''''''''''''''''%'''">
              <a:rPr lang="en-US" altLang="en-US" sz="1000" smtClean="0">
                <a:solidFill>
                  <a:srgbClr val="000000"/>
                </a:solidFill>
                <a:effectLst/>
                <a:latin typeface="+mn-lt"/>
                <a:ea typeface="+mn-ea"/>
              </a:rPr>
              <a:pPr/>
              <a:t>14%</a:t>
            </a:fld>
            <a:endParaRPr kumimoji="0" lang="en-US" sz="100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50" name="Text Placeholder 20">
            <a:extLst>
              <a:ext uri="{FF2B5EF4-FFF2-40B4-BE49-F238E27FC236}">
                <a16:creationId xmlns:a16="http://schemas.microsoft.com/office/drawing/2014/main" id="{7B9BDCFD-4A0B-4229-B49C-B29AFD5C4583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3532188" y="2652714"/>
            <a:ext cx="2555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86CECA6E-539D-449C-AF61-07DC08482AF6}" type="datetime'1''''4''''''''''''''''''''''%'''''''''''''''''''''''''">
              <a:rPr lang="en-US" altLang="en-US" sz="1000" smtClean="0">
                <a:solidFill>
                  <a:srgbClr val="000000"/>
                </a:solidFill>
                <a:effectLst/>
                <a:latin typeface="+mn-lt"/>
                <a:ea typeface="+mn-ea"/>
              </a:rPr>
              <a:pPr/>
              <a:t>14%</a:t>
            </a:fld>
            <a:endParaRPr kumimoji="0" lang="en-US" sz="100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51" name="Text Placeholder 20">
            <a:extLst>
              <a:ext uri="{FF2B5EF4-FFF2-40B4-BE49-F238E27FC236}">
                <a16:creationId xmlns:a16="http://schemas.microsoft.com/office/drawing/2014/main" id="{2A660BA6-5FCA-4811-8D0D-72F9A8256C23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5602288" y="2662239"/>
            <a:ext cx="2555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5F68981D-9F4B-4EDB-93EB-7988AFAA085F}" type="datetime'''''''''''''14''''''''''''%'''">
              <a:rPr lang="en-US" altLang="en-US" sz="1000" smtClean="0">
                <a:solidFill>
                  <a:srgbClr val="000000"/>
                </a:solidFill>
                <a:effectLst/>
                <a:latin typeface="+mn-lt"/>
                <a:ea typeface="+mn-ea"/>
              </a:rPr>
              <a:pPr/>
              <a:t>14%</a:t>
            </a:fld>
            <a:endParaRPr kumimoji="0" lang="en-US" sz="100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36" name="Text Placeholder 20">
            <a:extLst>
              <a:ext uri="{FF2B5EF4-FFF2-40B4-BE49-F238E27FC236}">
                <a16:creationId xmlns:a16="http://schemas.microsoft.com/office/drawing/2014/main" id="{D39FE1ED-09E8-47A4-8577-9E11E3827D78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5527675" y="3365500"/>
            <a:ext cx="4048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2F9B6ED3-F28E-443B-9005-124CA429CFC7}" type="datetime'''''''F''''''''ri''''''''d''''a''''''''''''''''y'''">
              <a:rPr lang="en-GB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Friday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52" name="Text Placeholder 20">
            <a:extLst>
              <a:ext uri="{FF2B5EF4-FFF2-40B4-BE49-F238E27FC236}">
                <a16:creationId xmlns:a16="http://schemas.microsoft.com/office/drawing/2014/main" id="{B207B179-C5E7-4E2A-8348-2D93B53E4733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6637338" y="2554289"/>
            <a:ext cx="2555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51B4F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A054D7A5-C4C3-478E-995A-43D6EF32007F}" type="datetime'''1''''''''''''''''''''''''''''''''''''''6%'''''''''''''">
              <a:rPr lang="en-US" altLang="en-US" sz="1000" smtClean="0">
                <a:solidFill>
                  <a:srgbClr val="FFFFFF"/>
                </a:solidFill>
                <a:effectLst/>
                <a:latin typeface="+mn-lt"/>
                <a:ea typeface="+mn-ea"/>
              </a:rPr>
              <a:pPr/>
              <a:t>16%</a:t>
            </a:fld>
            <a:endParaRPr kumimoji="0" lang="en-US" sz="100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40" name="Text Placeholder 20">
            <a:extLst>
              <a:ext uri="{FF2B5EF4-FFF2-40B4-BE49-F238E27FC236}">
                <a16:creationId xmlns:a16="http://schemas.microsoft.com/office/drawing/2014/main" id="{CC5836C1-2EB3-453B-AB38-8BA7ACC65F2B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1476375" y="2089151"/>
            <a:ext cx="2301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7E013B47-60CE-44CC-8AA3-751C35763E36}" type="datetime'''7''5''''''''''''''''''''''''7'''''''''''">
              <a:rPr lang="en-US" altLang="en-US" sz="1000" smtClean="0">
                <a:solidFill>
                  <a:srgbClr val="000000"/>
                </a:solidFill>
                <a:latin typeface="+mn-lt"/>
                <a:ea typeface="+mn-ea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757</a:t>
            </a:fld>
            <a:endParaRPr kumimoji="0" lang="en-US" sz="100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D5C86CFC-B1AC-4DB9-B679-4F57BB5C7700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6469063" y="3365500"/>
            <a:ext cx="5921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69919FF3-EE63-4828-956C-EA95CBDFD7A3}" type="datetime'''S''''''a''''''''t''''''ur''''''''d''a''''''''''y'''">
              <a:rPr lang="en-GB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Saturday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53" name="Text Placeholder 20">
            <a:extLst>
              <a:ext uri="{FF2B5EF4-FFF2-40B4-BE49-F238E27FC236}">
                <a16:creationId xmlns:a16="http://schemas.microsoft.com/office/drawing/2014/main" id="{1AE62BF9-8EA7-4A7C-A962-EE34883448A8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7670800" y="2617789"/>
            <a:ext cx="2555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4B8077B9-5405-4C58-B78F-8877AC66EFBC}" type="datetime'1''''''''''5''''''''''''''''''%'''''''''''''''''''''">
              <a:rPr lang="en-US" altLang="en-US" sz="1000" smtClean="0">
                <a:solidFill>
                  <a:srgbClr val="000000"/>
                </a:solidFill>
                <a:effectLst/>
                <a:latin typeface="+mn-lt"/>
                <a:ea typeface="+mn-ea"/>
              </a:rPr>
              <a:pPr/>
              <a:t>15%</a:t>
            </a:fld>
            <a:endParaRPr kumimoji="0" lang="en-US" sz="100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43" name="Text Placeholder 20">
            <a:extLst>
              <a:ext uri="{FF2B5EF4-FFF2-40B4-BE49-F238E27FC236}">
                <a16:creationId xmlns:a16="http://schemas.microsoft.com/office/drawing/2014/main" id="{02B9AF91-9D81-44ED-8439-BC3ABF3EE637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7551738" y="3365500"/>
            <a:ext cx="4921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079E4906-8CD0-48D8-8C70-950C085A6A1E}" type="datetime'''''Su''''''n''d''''''''''''''''a''''''''''''''''''y'''''''">
              <a:rPr lang="en-GB" altLang="en-US" sz="10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Sunday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5" name="Text Placeholder 20">
            <a:extLst>
              <a:ext uri="{FF2B5EF4-FFF2-40B4-BE49-F238E27FC236}">
                <a16:creationId xmlns:a16="http://schemas.microsoft.com/office/drawing/2014/main" id="{E18D9A65-F885-4B62-AA0D-9FC6150D78F1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2511425" y="1989139"/>
            <a:ext cx="2301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37E83781-FB69-443E-85CB-B1C6FBE8FE9C}" type="datetime'''''''''''''''''''''''8''''''''''''''''''''2''''''''''7'">
              <a:rPr lang="en-US" altLang="en-US" sz="1000" smtClean="0">
                <a:solidFill>
                  <a:srgbClr val="000000"/>
                </a:solidFill>
                <a:latin typeface="+mn-lt"/>
                <a:ea typeface="+mn-ea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827</a:t>
            </a:fld>
            <a:endParaRPr kumimoji="0" lang="en-US" sz="100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44" name="Text Placeholder 20">
            <a:extLst>
              <a:ext uri="{FF2B5EF4-FFF2-40B4-BE49-F238E27FC236}">
                <a16:creationId xmlns:a16="http://schemas.microsoft.com/office/drawing/2014/main" id="{E435AFC7-DCF0-4BAF-9FDA-90484253550F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3544888" y="1958976"/>
            <a:ext cx="2301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5496A1D5-CD8B-4C12-AD76-11D53C7D97F0}" type="datetime'''''''''8''''''''''''''4''''''''''''''''''''''''''9'''">
              <a:rPr lang="en-US" altLang="en-US" sz="1000" smtClean="0">
                <a:solidFill>
                  <a:srgbClr val="000000"/>
                </a:solidFill>
                <a:latin typeface="+mn-lt"/>
                <a:ea typeface="+mn-ea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849</a:t>
            </a:fld>
            <a:endParaRPr kumimoji="0" lang="en-US" sz="100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45" name="Text Placeholder 20">
            <a:extLst>
              <a:ext uri="{FF2B5EF4-FFF2-40B4-BE49-F238E27FC236}">
                <a16:creationId xmlns:a16="http://schemas.microsoft.com/office/drawing/2014/main" id="{6FE69ACE-F18B-48A5-B003-C280CBFFBC88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4579938" y="1946276"/>
            <a:ext cx="2301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CDB0ADA7-1EC9-4ECC-AAEE-6F5AB3C726E0}" type="datetime'''''8''''''''''''''''''''''58'''''''''">
              <a:rPr lang="en-US" altLang="en-US" sz="1000" smtClean="0">
                <a:solidFill>
                  <a:srgbClr val="000000"/>
                </a:solidFill>
                <a:latin typeface="+mn-lt"/>
                <a:ea typeface="+mn-ea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858</a:t>
            </a:fld>
            <a:endParaRPr kumimoji="0" lang="en-US" sz="100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46" name="Text Placeholder 20">
            <a:extLst>
              <a:ext uri="{FF2B5EF4-FFF2-40B4-BE49-F238E27FC236}">
                <a16:creationId xmlns:a16="http://schemas.microsoft.com/office/drawing/2014/main" id="{6A7B27B7-59F7-44E0-BD25-94C8E95D7BD8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5614988" y="1976439"/>
            <a:ext cx="2301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E0A1C833-2B55-4B5D-86E8-D93989A5DDBE}" type="datetime'8''''''''''''''''''''''''''''''''''''''''3''''''''''7'''">
              <a:rPr lang="en-US" altLang="en-US" sz="1000" smtClean="0">
                <a:solidFill>
                  <a:srgbClr val="000000"/>
                </a:solidFill>
                <a:latin typeface="+mn-lt"/>
                <a:ea typeface="+mn-ea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837</a:t>
            </a:fld>
            <a:endParaRPr kumimoji="0" lang="en-US" sz="100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47" name="Text Placeholder 20">
            <a:extLst>
              <a:ext uri="{FF2B5EF4-FFF2-40B4-BE49-F238E27FC236}">
                <a16:creationId xmlns:a16="http://schemas.microsoft.com/office/drawing/2014/main" id="{48A560BD-69A9-4242-B1EF-7A4294DEDAE2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6650038" y="1762126"/>
            <a:ext cx="2301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9CD14E8B-6B96-40F2-9892-03D948F44D34}" type="datetime'''9''''''8''''''''''''8'''''''''''">
              <a:rPr lang="en-US" altLang="en-US" sz="1000" smtClean="0">
                <a:solidFill>
                  <a:srgbClr val="000000"/>
                </a:solidFill>
                <a:latin typeface="+mn-lt"/>
                <a:ea typeface="+mn-ea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988</a:t>
            </a:fld>
            <a:endParaRPr kumimoji="0" lang="en-US" sz="100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48" name="Text Placeholder 20">
            <a:extLst>
              <a:ext uri="{FF2B5EF4-FFF2-40B4-BE49-F238E27FC236}">
                <a16:creationId xmlns:a16="http://schemas.microsoft.com/office/drawing/2014/main" id="{585AD08A-E133-468E-8809-FF4CA4C60A60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7683500" y="1887539"/>
            <a:ext cx="2301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F1F91B80-91BD-4D86-B0B2-80B7196B49E9}" type="datetime'''''9''''''''''''''''''''''''''0''''''''''''''0'''">
              <a:rPr lang="en-US" altLang="en-US" sz="1000" smtClean="0">
                <a:solidFill>
                  <a:srgbClr val="000000"/>
                </a:solidFill>
                <a:latin typeface="+mn-lt"/>
                <a:ea typeface="+mn-ea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900</a:t>
            </a:fld>
            <a:endParaRPr kumimoji="0" lang="en-US" sz="100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1357653E-6C2E-4A74-8E18-2499765510EF}"/>
              </a:ext>
            </a:extLst>
          </p:cNvPr>
          <p:cNvSpPr txBox="1"/>
          <p:nvPr/>
        </p:nvSpPr>
        <p:spPr bwMode="gray">
          <a:xfrm>
            <a:off x="8558214" y="1245179"/>
            <a:ext cx="3146106" cy="2453691"/>
          </a:xfrm>
          <a:prstGeom prst="rect">
            <a:avLst/>
          </a:prstGeom>
          <a:ln>
            <a:solidFill>
              <a:srgbClr val="797878"/>
            </a:solidFill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dirty="0">
                <a:solidFill>
                  <a:sysClr val="windowText" lastClr="000000"/>
                </a:solidFill>
                <a:latin typeface="Verdana"/>
              </a:rPr>
              <a:t>Offline s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les by cities, in %</a:t>
            </a:r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83" name="Chart 82">
            <a:extLst>
              <a:ext uri="{FF2B5EF4-FFF2-40B4-BE49-F238E27FC236}">
                <a16:creationId xmlns:a16="http://schemas.microsoft.com/office/drawing/2014/main" id="{280E6EB5-2C51-41F1-A6D3-99B44AA05F24}"/>
              </a:ext>
            </a:extLst>
          </p:cNvPr>
          <p:cNvGraphicFramePr/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2361701734"/>
              </p:ext>
            </p:extLst>
          </p:nvPr>
        </p:nvGraphicFramePr>
        <p:xfrm>
          <a:off x="9212263" y="4089400"/>
          <a:ext cx="2006600" cy="1787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3"/>
          </a:graphicData>
        </a:graphic>
      </p:graphicFrame>
      <p:sp>
        <p:nvSpPr>
          <p:cNvPr id="56" name="Text Placeholder 20">
            <a:extLst>
              <a:ext uri="{FF2B5EF4-FFF2-40B4-BE49-F238E27FC236}">
                <a16:creationId xmlns:a16="http://schemas.microsoft.com/office/drawing/2014/main" id="{B8E4EEFC-E929-45E7-A3C8-7283300055BA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10113963" y="4354513"/>
            <a:ext cx="190500" cy="136525"/>
          </a:xfrm>
          <a:prstGeom prst="rect">
            <a:avLst/>
          </a:prstGeom>
          <a:solidFill>
            <a:srgbClr val="C0C0C0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7B0CD7E1-79DC-4226-9C94-12160BDF5DF7}" type="datetime'''''''0''''''''''''''''''''''''''%'''''''''''''''">
              <a:rPr lang="ru-RU" altLang="en-US" sz="1000" smtClean="0">
                <a:solidFill>
                  <a:srgbClr val="000000"/>
                </a:solidFill>
                <a:effectLst/>
                <a:latin typeface="+mn-lt"/>
                <a:ea typeface="+mn-ea"/>
              </a:rPr>
              <a:pPr/>
              <a:t>0%</a:t>
            </a:fld>
            <a:endParaRPr kumimoji="0" lang="ru-RU" sz="100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8978B70-50A9-47C6-825B-C3EC539667F0}"/>
              </a:ext>
            </a:extLst>
          </p:cNvPr>
          <p:cNvSpPr txBox="1"/>
          <p:nvPr/>
        </p:nvSpPr>
        <p:spPr bwMode="gray">
          <a:xfrm>
            <a:off x="8574089" y="3818163"/>
            <a:ext cx="3146106" cy="2558595"/>
          </a:xfrm>
          <a:prstGeom prst="rect">
            <a:avLst/>
          </a:prstGeom>
          <a:ln>
            <a:solidFill>
              <a:srgbClr val="797878"/>
            </a:solidFill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nline sales by cities, in %</a:t>
            </a:r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87" name="Chart 86">
            <a:extLst>
              <a:ext uri="{FF2B5EF4-FFF2-40B4-BE49-F238E27FC236}">
                <a16:creationId xmlns:a16="http://schemas.microsoft.com/office/drawing/2014/main" id="{11D5F541-C445-4996-BE79-A997DDE5A0D1}"/>
              </a:ext>
            </a:extLst>
          </p:cNvPr>
          <p:cNvGraphicFramePr/>
          <p:nvPr>
            <p:custDataLst>
              <p:tags r:id="rId48"/>
            </p:custDataLst>
            <p:extLst>
              <p:ext uri="{D42A27DB-BD31-4B8C-83A1-F6EECF244321}">
                <p14:modId xmlns:p14="http://schemas.microsoft.com/office/powerpoint/2010/main" val="368041851"/>
              </p:ext>
            </p:extLst>
          </p:nvPr>
        </p:nvGraphicFramePr>
        <p:xfrm>
          <a:off x="9197975" y="1514475"/>
          <a:ext cx="2006600" cy="1789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4"/>
          </a:graphicData>
        </a:graphic>
      </p:graphicFrame>
      <p:sp>
        <p:nvSpPr>
          <p:cNvPr id="67" name="Text Placeholder 20">
            <a:extLst>
              <a:ext uri="{FF2B5EF4-FFF2-40B4-BE49-F238E27FC236}">
                <a16:creationId xmlns:a16="http://schemas.microsoft.com/office/drawing/2014/main" id="{9A48359D-1C2E-4EB1-BD77-8D521F70E01F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9701213" y="1892300"/>
            <a:ext cx="252413" cy="136525"/>
          </a:xfrm>
          <a:prstGeom prst="rect">
            <a:avLst/>
          </a:prstGeom>
          <a:solidFill>
            <a:srgbClr val="C0C0C0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15793FA3-4BB8-4F30-9B42-C1457D091D69}" type="datetime'''''''''''1%'''''''''''''''''''''''''''''''''''''''''''''''''">
              <a:rPr lang="ru-RU" altLang="en-US" sz="1000" smtClean="0">
                <a:solidFill>
                  <a:srgbClr val="000000"/>
                </a:solidFill>
                <a:effectLst/>
              </a:rPr>
              <a:pPr/>
              <a:t>1%</a:t>
            </a:fld>
            <a:endParaRPr kumimoji="0" lang="ru-RU" sz="10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+mn-cs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1598EE16-351D-43CC-94D0-8690C7F40C7A}"/>
              </a:ext>
            </a:extLst>
          </p:cNvPr>
          <p:cNvSpPr/>
          <p:nvPr/>
        </p:nvSpPr>
        <p:spPr>
          <a:xfrm>
            <a:off x="754406" y="1347709"/>
            <a:ext cx="885636" cy="342201"/>
          </a:xfrm>
          <a:prstGeom prst="rect">
            <a:avLst/>
          </a:prstGeom>
          <a:solidFill>
            <a:srgbClr val="B51B4F"/>
          </a:solidFill>
          <a:ln>
            <a:solidFill>
              <a:srgbClr val="808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eak sales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62EF83F8-52AA-42CA-9950-9C5E874277DC}"/>
              </a:ext>
            </a:extLst>
          </p:cNvPr>
          <p:cNvSpPr/>
          <p:nvPr>
            <p:custDataLst>
              <p:tags r:id="rId50"/>
            </p:custDataLst>
          </p:nvPr>
        </p:nvSpPr>
        <p:spPr bwMode="auto">
          <a:xfrm>
            <a:off x="9872663" y="3495675"/>
            <a:ext cx="179388" cy="133350"/>
          </a:xfrm>
          <a:prstGeom prst="rect">
            <a:avLst/>
          </a:prstGeom>
          <a:solidFill>
            <a:srgbClr val="C0C0C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14C368D7-5690-4961-8E2C-F0A5C96441FD}"/>
              </a:ext>
            </a:extLst>
          </p:cNvPr>
          <p:cNvSpPr/>
          <p:nvPr>
            <p:custDataLst>
              <p:tags r:id="rId51"/>
            </p:custDataLst>
          </p:nvPr>
        </p:nvSpPr>
        <p:spPr bwMode="auto">
          <a:xfrm>
            <a:off x="8985250" y="3308350"/>
            <a:ext cx="179388" cy="133350"/>
          </a:xfrm>
          <a:prstGeom prst="rect">
            <a:avLst/>
          </a:prstGeom>
          <a:solidFill>
            <a:srgbClr val="B51B4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339F36F3-3A5D-4531-B39C-BBA89CC44F65}"/>
              </a:ext>
            </a:extLst>
          </p:cNvPr>
          <p:cNvSpPr/>
          <p:nvPr>
            <p:custDataLst>
              <p:tags r:id="rId52"/>
            </p:custDataLst>
          </p:nvPr>
        </p:nvSpPr>
        <p:spPr bwMode="auto">
          <a:xfrm>
            <a:off x="9872663" y="3308350"/>
            <a:ext cx="179388" cy="133350"/>
          </a:xfrm>
          <a:prstGeom prst="rect">
            <a:avLst/>
          </a:prstGeom>
          <a:solidFill>
            <a:srgbClr val="96969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4FC4EB64-2476-4441-B3BB-F58D66FD6CEA}"/>
              </a:ext>
            </a:extLst>
          </p:cNvPr>
          <p:cNvSpPr/>
          <p:nvPr>
            <p:custDataLst>
              <p:tags r:id="rId53"/>
            </p:custDataLst>
          </p:nvPr>
        </p:nvSpPr>
        <p:spPr bwMode="auto">
          <a:xfrm>
            <a:off x="8985250" y="3495675"/>
            <a:ext cx="179388" cy="133350"/>
          </a:xfrm>
          <a:prstGeom prst="rect">
            <a:avLst/>
          </a:prstGeom>
          <a:solidFill>
            <a:srgbClr val="80808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31712E31-D946-4E07-96B0-0AA6BB531BCD}"/>
              </a:ext>
            </a:extLst>
          </p:cNvPr>
          <p:cNvSpPr/>
          <p:nvPr>
            <p:custDataLst>
              <p:tags r:id="rId54"/>
            </p:custDataLst>
          </p:nvPr>
        </p:nvSpPr>
        <p:spPr bwMode="auto">
          <a:xfrm>
            <a:off x="10718800" y="3308350"/>
            <a:ext cx="179388" cy="133350"/>
          </a:xfrm>
          <a:prstGeom prst="rect">
            <a:avLst/>
          </a:prstGeom>
          <a:solidFill>
            <a:srgbClr val="6F8DB9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08B3BB16-F185-424D-9038-724B28DA07AC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10102850" y="3303588"/>
            <a:ext cx="5143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BAA60D5-FCA5-4576-865A-804E7B00775A}" type="datetime'''''''''''''''''S''''''hy''''''''''''mk''''''''''en''''''''t'">
              <a:rPr lang="en-US" altLang="en-US" sz="1000" smtClean="0">
                <a:effectLst/>
                <a:ea typeface="Verdana" panose="020B060403050404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hymkent</a:t>
            </a:fld>
            <a:endParaRPr lang="en-US" sz="1000" dirty="0">
              <a:ea typeface="Verdana" panose="020B0604030504040204" pitchFamily="34" charset="0"/>
            </a:endParaRPr>
          </a:p>
        </p:txBody>
      </p:sp>
      <p:sp>
        <p:nvSpPr>
          <p:cNvPr id="110" name="Text Placeholder 2">
            <a:extLst>
              <a:ext uri="{FF2B5EF4-FFF2-40B4-BE49-F238E27FC236}">
                <a16:creationId xmlns:a16="http://schemas.microsoft.com/office/drawing/2014/main" id="{08B3BB16-F185-424D-9038-724B28DA07AC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9215438" y="3303588"/>
            <a:ext cx="3635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72CA3BC-A857-423A-BC33-3EAD2BE2CDF6}" type="datetime'''''A''''''''l''m''aty'''''''''''''''''">
              <a:rPr lang="en-US" altLang="en-US" sz="1000" smtClean="0">
                <a:effectLst/>
                <a:ea typeface="Verdana" panose="020B060403050404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lmaty</a:t>
            </a:fld>
            <a:endParaRPr lang="en-US" sz="1000" dirty="0">
              <a:ea typeface="Verdana" panose="020B0604030504040204" pitchFamily="34" charset="0"/>
            </a:endParaRPr>
          </a:p>
        </p:txBody>
      </p:sp>
      <p:sp>
        <p:nvSpPr>
          <p:cNvPr id="112" name="Text Placeholder 2">
            <a:extLst>
              <a:ext uri="{FF2B5EF4-FFF2-40B4-BE49-F238E27FC236}">
                <a16:creationId xmlns:a16="http://schemas.microsoft.com/office/drawing/2014/main" id="{08B3BB16-F185-424D-9038-724B28DA07AC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10102850" y="3490913"/>
            <a:ext cx="4953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484D8DA-9EB7-415D-B902-E36E6F79D447}" type="datetime'''''''''P''''e''''''t''''''r''op''a''v''''l'''''''''''''''''''">
              <a:rPr lang="en-US" altLang="en-US" sz="1000" smtClean="0">
                <a:effectLst/>
                <a:ea typeface="Verdana" panose="020B060403050404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Petropavl</a:t>
            </a:fld>
            <a:endParaRPr lang="en-US" sz="1000" dirty="0">
              <a:ea typeface="Verdana" panose="020B0604030504040204" pitchFamily="34" charset="0"/>
            </a:endParaRPr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08B3BB16-F185-424D-9038-724B28DA07AC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9215438" y="3490913"/>
            <a:ext cx="5556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322C7B5-0107-4BCA-ACC3-0678A385E423}" type="datetime'N''''''''''''''''''''''''''ur''''''''''-S''''''u''l''t''an'''">
              <a:rPr lang="en-US" altLang="en-US" sz="1000" smtClean="0">
                <a:effectLst/>
                <a:ea typeface="Verdana" panose="020B060403050404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Nur-Sultan</a:t>
            </a:fld>
            <a:endParaRPr lang="en-US" sz="1000" dirty="0">
              <a:ea typeface="Verdana" panose="020B0604030504040204" pitchFamily="34" charset="0"/>
            </a:endParaRPr>
          </a:p>
        </p:txBody>
      </p:sp>
      <p:sp>
        <p:nvSpPr>
          <p:cNvPr id="113" name="Text Placeholder 2">
            <a:extLst>
              <a:ext uri="{FF2B5EF4-FFF2-40B4-BE49-F238E27FC236}">
                <a16:creationId xmlns:a16="http://schemas.microsoft.com/office/drawing/2014/main" id="{08B3BB16-F185-424D-9038-724B28DA07AC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10948988" y="3303588"/>
            <a:ext cx="5969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A480BD7-CC21-41BA-964A-51D11067B729}" type="datetime'''O''''''t''''he''r c''''iti''e''s'''''''''''">
              <a:rPr lang="en-US" altLang="en-US" sz="1000" smtClean="0">
                <a:effectLst/>
                <a:ea typeface="Verdana" panose="020B060403050404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Other cities</a:t>
            </a:fld>
            <a:endParaRPr lang="en-US" sz="1000" dirty="0">
              <a:ea typeface="Verdana" panose="020B0604030504040204" pitchFamily="34" charset="0"/>
            </a:endParaRP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4F68D5E4-1778-4359-9639-E68BB817BA32}"/>
              </a:ext>
            </a:extLst>
          </p:cNvPr>
          <p:cNvSpPr/>
          <p:nvPr>
            <p:custDataLst>
              <p:tags r:id="rId60"/>
            </p:custDataLst>
          </p:nvPr>
        </p:nvSpPr>
        <p:spPr bwMode="auto">
          <a:xfrm>
            <a:off x="9474200" y="5945188"/>
            <a:ext cx="179388" cy="133350"/>
          </a:xfrm>
          <a:prstGeom prst="rect">
            <a:avLst/>
          </a:prstGeom>
          <a:solidFill>
            <a:srgbClr val="B51B4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53B3A6F5-B951-4132-B682-138DFFC42D34}"/>
              </a:ext>
            </a:extLst>
          </p:cNvPr>
          <p:cNvSpPr/>
          <p:nvPr>
            <p:custDataLst>
              <p:tags r:id="rId61"/>
            </p:custDataLst>
          </p:nvPr>
        </p:nvSpPr>
        <p:spPr bwMode="auto">
          <a:xfrm>
            <a:off x="9474200" y="6132513"/>
            <a:ext cx="179388" cy="133350"/>
          </a:xfrm>
          <a:prstGeom prst="rect">
            <a:avLst/>
          </a:prstGeom>
          <a:solidFill>
            <a:srgbClr val="80808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A6DB080C-29CF-4D96-ABAE-EE168BC6ADA6}"/>
              </a:ext>
            </a:extLst>
          </p:cNvPr>
          <p:cNvSpPr/>
          <p:nvPr>
            <p:custDataLst>
              <p:tags r:id="rId62"/>
            </p:custDataLst>
          </p:nvPr>
        </p:nvSpPr>
        <p:spPr bwMode="auto">
          <a:xfrm>
            <a:off x="10361613" y="5945188"/>
            <a:ext cx="179388" cy="133350"/>
          </a:xfrm>
          <a:prstGeom prst="rect">
            <a:avLst/>
          </a:prstGeom>
          <a:solidFill>
            <a:srgbClr val="96969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5B682B1C-9D10-4C4A-B1F1-FECC3442533E}"/>
              </a:ext>
            </a:extLst>
          </p:cNvPr>
          <p:cNvSpPr/>
          <p:nvPr>
            <p:custDataLst>
              <p:tags r:id="rId63"/>
            </p:custDataLst>
          </p:nvPr>
        </p:nvSpPr>
        <p:spPr bwMode="auto">
          <a:xfrm>
            <a:off x="10361613" y="6132513"/>
            <a:ext cx="179388" cy="133350"/>
          </a:xfrm>
          <a:prstGeom prst="rect">
            <a:avLst/>
          </a:prstGeom>
          <a:solidFill>
            <a:srgbClr val="C0C0C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9" name="Text Placeholder 2">
            <a:extLst>
              <a:ext uri="{FF2B5EF4-FFF2-40B4-BE49-F238E27FC236}">
                <a16:creationId xmlns:a16="http://schemas.microsoft.com/office/drawing/2014/main" id="{08B3BB16-F185-424D-9038-724B28DA07AC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9704388" y="6127750"/>
            <a:ext cx="5556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5B74882-2B4A-4C9E-84A5-A7645E11BF98}" type="datetime'N''''''''''u''r''''''-''Su''l''t''''''''''''''''an'''''''''">
              <a:rPr lang="en-US" altLang="en-US" sz="1000" smtClean="0">
                <a:effectLst/>
                <a:ea typeface="Verdana" panose="020B060403050404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Nur-Sultan</a:t>
            </a:fld>
            <a:endParaRPr lang="en-US" sz="1000" dirty="0">
              <a:ea typeface="Verdana" panose="020B0604030504040204" pitchFamily="34" charset="0"/>
            </a:endParaRPr>
          </a:p>
        </p:txBody>
      </p:sp>
      <p:sp>
        <p:nvSpPr>
          <p:cNvPr id="137" name="Text Placeholder 2">
            <a:extLst>
              <a:ext uri="{FF2B5EF4-FFF2-40B4-BE49-F238E27FC236}">
                <a16:creationId xmlns:a16="http://schemas.microsoft.com/office/drawing/2014/main" id="{08B3BB16-F185-424D-9038-724B28DA07AC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9704388" y="5940425"/>
            <a:ext cx="3635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12AAEC2-81C9-48A6-874D-B6A39376D53A}" type="datetime'''''''''A''''''''''''''''''l''''''''''''m''''''a''''t''''y'''">
              <a:rPr lang="en-US" altLang="en-US" sz="1000" smtClean="0">
                <a:effectLst/>
                <a:ea typeface="Verdana" panose="020B060403050404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lmaty</a:t>
            </a:fld>
            <a:endParaRPr lang="en-US" sz="1000" dirty="0">
              <a:ea typeface="Verdana" panose="020B0604030504040204" pitchFamily="34" charset="0"/>
            </a:endParaRPr>
          </a:p>
        </p:txBody>
      </p:sp>
      <p:sp>
        <p:nvSpPr>
          <p:cNvPr id="140" name="Text Placeholder 2">
            <a:extLst>
              <a:ext uri="{FF2B5EF4-FFF2-40B4-BE49-F238E27FC236}">
                <a16:creationId xmlns:a16="http://schemas.microsoft.com/office/drawing/2014/main" id="{08B3BB16-F185-424D-9038-724B28DA07AC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10591800" y="5940425"/>
            <a:ext cx="5143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0E6B68D-6933-4197-B093-F9B1C3D6D626}" type="datetime'''Sh''''''ym''''ken''''''''''''''''''''''''''''''''''''''''t'">
              <a:rPr lang="en-US" altLang="en-US" sz="1000" smtClean="0">
                <a:effectLst/>
                <a:ea typeface="Verdana" panose="020B060403050404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hymkent</a:t>
            </a:fld>
            <a:endParaRPr lang="en-US" sz="1000" dirty="0">
              <a:ea typeface="Verdana" panose="020B0604030504040204" pitchFamily="34" charset="0"/>
            </a:endParaRPr>
          </a:p>
        </p:txBody>
      </p:sp>
      <p:sp>
        <p:nvSpPr>
          <p:cNvPr id="141" name="Text Placeholder 2">
            <a:extLst>
              <a:ext uri="{FF2B5EF4-FFF2-40B4-BE49-F238E27FC236}">
                <a16:creationId xmlns:a16="http://schemas.microsoft.com/office/drawing/2014/main" id="{08B3BB16-F185-424D-9038-724B28DA07AC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10591800" y="6127750"/>
            <a:ext cx="4953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B3815A8-87EA-43B8-A658-E4E1F74F35BD}" type="datetime'''''''Pet''''''''''''r''''''op''''''''''a''''''''v''l'''">
              <a:rPr lang="en-US" altLang="en-US" sz="1000" smtClean="0">
                <a:effectLst/>
                <a:ea typeface="Verdana" panose="020B060403050404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Petropavl</a:t>
            </a:fld>
            <a:endParaRPr lang="en-US" sz="1000" dirty="0">
              <a:ea typeface="Verdana" panose="020B0604030504040204" pitchFamily="34" charset="0"/>
            </a:endParaRPr>
          </a:p>
        </p:txBody>
      </p:sp>
      <p:sp>
        <p:nvSpPr>
          <p:cNvPr id="148" name="Slide Number Placeholder 147">
            <a:extLst>
              <a:ext uri="{FF2B5EF4-FFF2-40B4-BE49-F238E27FC236}">
                <a16:creationId xmlns:a16="http://schemas.microsoft.com/office/drawing/2014/main" id="{819AF64F-DE7B-492F-9040-AF5ACCF4D2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6D2641-81B4-4FA9-AABA-CD0BE301EB4F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029087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9FBDCD-8AFA-4187-9760-F291DAA622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9FBDCD-8AFA-4187-9760-F291DAA622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D8FAFC92-18B7-49DE-AAC3-D2B7F9C3702B}"/>
              </a:ext>
            </a:extLst>
          </p:cNvPr>
          <p:cNvSpPr txBox="1"/>
          <p:nvPr/>
        </p:nvSpPr>
        <p:spPr>
          <a:xfrm>
            <a:off x="688185" y="556502"/>
            <a:ext cx="7410786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ITC Avant Garde Pro Md" panose="020B0602020202020204" pitchFamily="34" charset="0"/>
              </a:rPr>
              <a:t>Results framework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1AA9B49-BA61-4EF2-9425-856B67E46035}"/>
              </a:ext>
            </a:extLst>
          </p:cNvPr>
          <p:cNvSpPr/>
          <p:nvPr/>
        </p:nvSpPr>
        <p:spPr>
          <a:xfrm>
            <a:off x="809896" y="1770017"/>
            <a:ext cx="10528663" cy="822960"/>
          </a:xfrm>
          <a:prstGeom prst="rect">
            <a:avLst/>
          </a:prstGeom>
          <a:solidFill>
            <a:srgbClr val="1B26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  <a:latin typeface="ITC Avant Garde Pro Md" panose="020B0602020202020204" pitchFamily="34" charset="0"/>
              </a:rPr>
              <a:t>Assortment improvement of Magnum retail chain </a:t>
            </a:r>
          </a:p>
          <a:p>
            <a:pPr algn="ctr"/>
            <a:r>
              <a:rPr lang="en-US" dirty="0">
                <a:solidFill>
                  <a:schemeClr val="bg1"/>
                </a:solidFill>
                <a:latin typeface="ITC Avant Garde Pro Md" panose="020B0602020202020204" pitchFamily="34" charset="0"/>
              </a:rPr>
              <a:t>through e-commerce channels: A Data Analytics approach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C3892E7-8492-4E13-A471-0922F3CFFB37}"/>
              </a:ext>
            </a:extLst>
          </p:cNvPr>
          <p:cNvSpPr/>
          <p:nvPr/>
        </p:nvSpPr>
        <p:spPr>
          <a:xfrm>
            <a:off x="809896" y="2808514"/>
            <a:ext cx="2037807" cy="2599509"/>
          </a:xfrm>
          <a:prstGeom prst="rect">
            <a:avLst/>
          </a:prstGeom>
          <a:noFill/>
          <a:ln>
            <a:solidFill>
              <a:srgbClr val="1B26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6F3619-DD23-4B32-A2D4-C574C792E430}"/>
              </a:ext>
            </a:extLst>
          </p:cNvPr>
          <p:cNvSpPr/>
          <p:nvPr/>
        </p:nvSpPr>
        <p:spPr>
          <a:xfrm>
            <a:off x="2926078" y="2808514"/>
            <a:ext cx="2037807" cy="2599509"/>
          </a:xfrm>
          <a:prstGeom prst="rect">
            <a:avLst/>
          </a:prstGeom>
          <a:solidFill>
            <a:srgbClr val="1B262A"/>
          </a:solidFill>
          <a:ln>
            <a:solidFill>
              <a:srgbClr val="1B26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0F15420-6343-4089-BC3B-1965FFFEE3E9}"/>
              </a:ext>
            </a:extLst>
          </p:cNvPr>
          <p:cNvSpPr/>
          <p:nvPr/>
        </p:nvSpPr>
        <p:spPr>
          <a:xfrm>
            <a:off x="5050970" y="2808514"/>
            <a:ext cx="2037807" cy="2599509"/>
          </a:xfrm>
          <a:prstGeom prst="rect">
            <a:avLst/>
          </a:prstGeom>
          <a:noFill/>
          <a:ln>
            <a:solidFill>
              <a:srgbClr val="1B26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558B1BE-30D9-4EBE-B82D-7E333A6202A8}"/>
              </a:ext>
            </a:extLst>
          </p:cNvPr>
          <p:cNvSpPr/>
          <p:nvPr/>
        </p:nvSpPr>
        <p:spPr>
          <a:xfrm>
            <a:off x="7188926" y="2808514"/>
            <a:ext cx="2037807" cy="2599509"/>
          </a:xfrm>
          <a:prstGeom prst="rect">
            <a:avLst/>
          </a:prstGeom>
          <a:noFill/>
          <a:ln>
            <a:solidFill>
              <a:srgbClr val="1B26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0772D22-7F36-412E-9CCC-5299D5D92B15}"/>
              </a:ext>
            </a:extLst>
          </p:cNvPr>
          <p:cNvSpPr/>
          <p:nvPr/>
        </p:nvSpPr>
        <p:spPr>
          <a:xfrm>
            <a:off x="9318171" y="2808514"/>
            <a:ext cx="2037807" cy="2599509"/>
          </a:xfrm>
          <a:prstGeom prst="rect">
            <a:avLst/>
          </a:prstGeom>
          <a:noFill/>
          <a:ln>
            <a:solidFill>
              <a:srgbClr val="1B26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1BB43B2-8756-4C3E-93B0-253FACE8C63F}"/>
              </a:ext>
            </a:extLst>
          </p:cNvPr>
          <p:cNvSpPr txBox="1"/>
          <p:nvPr/>
        </p:nvSpPr>
        <p:spPr>
          <a:xfrm>
            <a:off x="788122" y="3919931"/>
            <a:ext cx="20378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ITC Avant Garde Pro Bk" panose="020B0502020202020204" pitchFamily="34" charset="0"/>
              </a:rPr>
              <a:t>Offline vs. Onlin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7E841BD-27E2-4F23-AF4D-7B79FC0283FE}"/>
              </a:ext>
            </a:extLst>
          </p:cNvPr>
          <p:cNvSpPr txBox="1"/>
          <p:nvPr/>
        </p:nvSpPr>
        <p:spPr>
          <a:xfrm>
            <a:off x="2913014" y="3815879"/>
            <a:ext cx="20378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ITC Avant Garde Pro Bk" panose="020B0502020202020204" pitchFamily="34" charset="0"/>
              </a:rPr>
              <a:t>Competitor analysi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1D84FAA-E1C0-4F12-91F1-DFCDB184408B}"/>
              </a:ext>
            </a:extLst>
          </p:cNvPr>
          <p:cNvSpPr txBox="1"/>
          <p:nvPr/>
        </p:nvSpPr>
        <p:spPr>
          <a:xfrm>
            <a:off x="5107575" y="3796820"/>
            <a:ext cx="192459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ITC Avant Garde Pro Bk" panose="020B0502020202020204" pitchFamily="34" charset="0"/>
              </a:rPr>
              <a:t>Categorization and listin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38ED2F7-20DD-4016-996E-84C4D6B1970D}"/>
              </a:ext>
            </a:extLst>
          </p:cNvPr>
          <p:cNvSpPr txBox="1"/>
          <p:nvPr/>
        </p:nvSpPr>
        <p:spPr>
          <a:xfrm>
            <a:off x="7201990" y="3841993"/>
            <a:ext cx="20378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ITC Avant Garde Pro Bk" panose="020B0502020202020204" pitchFamily="34" charset="0"/>
              </a:rPr>
              <a:t>Mobile app ergonomic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F04B605-EB32-44D4-B833-99ECAA80A1E5}"/>
              </a:ext>
            </a:extLst>
          </p:cNvPr>
          <p:cNvSpPr txBox="1"/>
          <p:nvPr/>
        </p:nvSpPr>
        <p:spPr>
          <a:xfrm>
            <a:off x="9326882" y="3815874"/>
            <a:ext cx="20378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ITC Avant Garde Pro Bk" panose="020B0502020202020204" pitchFamily="34" charset="0"/>
              </a:rPr>
              <a:t>Interactive Dashboard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3C7766D-E193-4077-80FA-33056F2BB974}"/>
              </a:ext>
            </a:extLst>
          </p:cNvPr>
          <p:cNvCxnSpPr>
            <a:cxnSpLocks/>
          </p:cNvCxnSpPr>
          <p:nvPr/>
        </p:nvCxnSpPr>
        <p:spPr>
          <a:xfrm>
            <a:off x="688185" y="1082000"/>
            <a:ext cx="1101613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0FB8D5-8EDC-4118-BC4A-74497CB3E5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6D2641-81B4-4FA9-AABA-CD0BE301EB4F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963434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9FBDCD-8AFA-4187-9760-F291DAA622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7973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378" imgH="377" progId="TCLayout.ActiveDocument.1">
                  <p:embed/>
                </p:oleObj>
              </mc:Choice>
              <mc:Fallback>
                <p:oleObj name="think-cell Slide" r:id="rId44" imgW="378" imgH="37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9FBDCD-8AFA-4187-9760-F291DAA622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D8FAFC92-18B7-49DE-AAC3-D2B7F9C3702B}"/>
              </a:ext>
            </a:extLst>
          </p:cNvPr>
          <p:cNvSpPr txBox="1"/>
          <p:nvPr/>
        </p:nvSpPr>
        <p:spPr>
          <a:xfrm>
            <a:off x="688185" y="556502"/>
            <a:ext cx="11016134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ITC Avant Garde Pro Md" panose="020B0602020202020204" pitchFamily="34" charset="0"/>
              </a:rPr>
              <a:t>Competitors’ assortment analysis: Food vs Non-Food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3C7766D-E193-4077-80FA-33056F2BB974}"/>
              </a:ext>
            </a:extLst>
          </p:cNvPr>
          <p:cNvCxnSpPr>
            <a:cxnSpLocks/>
          </p:cNvCxnSpPr>
          <p:nvPr/>
        </p:nvCxnSpPr>
        <p:spPr>
          <a:xfrm>
            <a:off x="688185" y="1082000"/>
            <a:ext cx="1101613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1" name="Picture 130" descr="Logo, company name&#10;&#10;Description automatically generated">
            <a:extLst>
              <a:ext uri="{FF2B5EF4-FFF2-40B4-BE49-F238E27FC236}">
                <a16:creationId xmlns:a16="http://schemas.microsoft.com/office/drawing/2014/main" id="{8EF43DC6-2808-4633-99B3-194E07C0DF7C}"/>
              </a:ext>
            </a:extLst>
          </p:cNvPr>
          <p:cNvPicPr>
            <a:picLocks noChangeAspect="1"/>
          </p:cNvPicPr>
          <p:nvPr/>
        </p:nvPicPr>
        <p:blipFill rotWithShape="1"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57" t="28662" r="10750" b="29903"/>
          <a:stretch/>
        </p:blipFill>
        <p:spPr>
          <a:xfrm>
            <a:off x="2857423" y="4028491"/>
            <a:ext cx="1273330" cy="298654"/>
          </a:xfrm>
          <a:prstGeom prst="rect">
            <a:avLst/>
          </a:prstGeom>
        </p:spPr>
      </p:pic>
      <p:pic>
        <p:nvPicPr>
          <p:cNvPr id="132" name="Picture 131" descr="Logo, company name&#10;&#10;Description automatically generated">
            <a:extLst>
              <a:ext uri="{FF2B5EF4-FFF2-40B4-BE49-F238E27FC236}">
                <a16:creationId xmlns:a16="http://schemas.microsoft.com/office/drawing/2014/main" id="{E9AD55CE-2A2A-4208-BD05-DD7129C4006B}"/>
              </a:ext>
            </a:extLst>
          </p:cNvPr>
          <p:cNvPicPr>
            <a:picLocks noChangeAspect="1"/>
          </p:cNvPicPr>
          <p:nvPr/>
        </p:nvPicPr>
        <p:blipFill rotWithShape="1"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61" t="25662" r="8056" b="25662"/>
          <a:stretch/>
        </p:blipFill>
        <p:spPr>
          <a:xfrm>
            <a:off x="4676420" y="4001013"/>
            <a:ext cx="1273333" cy="336660"/>
          </a:xfrm>
          <a:prstGeom prst="rect">
            <a:avLst/>
          </a:prstGeom>
        </p:spPr>
      </p:pic>
      <p:pic>
        <p:nvPicPr>
          <p:cNvPr id="133" name="Picture 132" descr="A picture containing text, clock&#10;&#10;Description automatically generated">
            <a:extLst>
              <a:ext uri="{FF2B5EF4-FFF2-40B4-BE49-F238E27FC236}">
                <a16:creationId xmlns:a16="http://schemas.microsoft.com/office/drawing/2014/main" id="{D116865F-58D2-479C-8124-8F7CF772D34D}"/>
              </a:ext>
            </a:extLst>
          </p:cNvPr>
          <p:cNvPicPr>
            <a:picLocks noChangeAspect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6450" y="3992378"/>
            <a:ext cx="1171689" cy="298652"/>
          </a:xfrm>
          <a:prstGeom prst="rect">
            <a:avLst/>
          </a:prstGeom>
        </p:spPr>
      </p:pic>
      <p:sp>
        <p:nvSpPr>
          <p:cNvPr id="134" name="TextBox 133">
            <a:extLst>
              <a:ext uri="{FF2B5EF4-FFF2-40B4-BE49-F238E27FC236}">
                <a16:creationId xmlns:a16="http://schemas.microsoft.com/office/drawing/2014/main" id="{CBAECD26-42F0-4C2E-B7AA-3C9D233A8375}"/>
              </a:ext>
            </a:extLst>
          </p:cNvPr>
          <p:cNvSpPr txBox="1"/>
          <p:nvPr/>
        </p:nvSpPr>
        <p:spPr bwMode="gray">
          <a:xfrm>
            <a:off x="688183" y="1240971"/>
            <a:ext cx="11016136" cy="3213555"/>
          </a:xfrm>
          <a:prstGeom prst="rect">
            <a:avLst/>
          </a:prstGeom>
          <a:ln w="9525">
            <a:solidFill>
              <a:srgbClr val="797878"/>
            </a:solidFill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ITC Avant Garde Pro Bk" panose="020B0502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TC Avant Garde Pro Bk" panose="020B0502020202020204" pitchFamily="34" charset="0"/>
              </a:rPr>
              <a:t>Number of SKUs per each class</a:t>
            </a:r>
          </a:p>
        </p:txBody>
      </p:sp>
      <p:pic>
        <p:nvPicPr>
          <p:cNvPr id="135" name="Picture 134" descr="A picture containing icon&#10;&#10;Description automatically generated">
            <a:extLst>
              <a:ext uri="{FF2B5EF4-FFF2-40B4-BE49-F238E27FC236}">
                <a16:creationId xmlns:a16="http://schemas.microsoft.com/office/drawing/2014/main" id="{2471271E-F863-46B9-B862-F4EAB00AACFE}"/>
              </a:ext>
            </a:extLst>
          </p:cNvPr>
          <p:cNvPicPr>
            <a:picLocks noChangeAspect="1"/>
          </p:cNvPicPr>
          <p:nvPr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2247" y="4008062"/>
            <a:ext cx="1171689" cy="242607"/>
          </a:xfrm>
          <a:prstGeom prst="rect">
            <a:avLst/>
          </a:prstGeom>
        </p:spPr>
      </p:pic>
      <p:pic>
        <p:nvPicPr>
          <p:cNvPr id="136" name="Picture 2" descr="Image result for magnum go лого">
            <a:extLst>
              <a:ext uri="{FF2B5EF4-FFF2-40B4-BE49-F238E27FC236}">
                <a16:creationId xmlns:a16="http://schemas.microsoft.com/office/drawing/2014/main" id="{7768D76E-FE41-4019-8165-434C6C3B11E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093" r="42049" b="51254"/>
          <a:stretch/>
        </p:blipFill>
        <p:spPr bwMode="auto">
          <a:xfrm>
            <a:off x="1503331" y="3957839"/>
            <a:ext cx="690420" cy="4297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7" name="Picture 136" descr="Logo&#10;&#10;Description automatically generated">
            <a:extLst>
              <a:ext uri="{FF2B5EF4-FFF2-40B4-BE49-F238E27FC236}">
                <a16:creationId xmlns:a16="http://schemas.microsoft.com/office/drawing/2014/main" id="{5A9E5B3A-4E74-4CF6-BACA-6A6FCC77357B}"/>
              </a:ext>
            </a:extLst>
          </p:cNvPr>
          <p:cNvPicPr>
            <a:picLocks noChangeAspect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6319" y="3957839"/>
            <a:ext cx="1273333" cy="461559"/>
          </a:xfrm>
          <a:prstGeom prst="rect">
            <a:avLst/>
          </a:prstGeom>
        </p:spPr>
      </p:pic>
      <p:graphicFrame>
        <p:nvGraphicFramePr>
          <p:cNvPr id="64" name="Chart 63">
            <a:extLst>
              <a:ext uri="{FF2B5EF4-FFF2-40B4-BE49-F238E27FC236}">
                <a16:creationId xmlns:a16="http://schemas.microsoft.com/office/drawing/2014/main" id="{88542DDF-4B65-41DF-B735-7490F4FC821A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1210432"/>
              </p:ext>
            </p:extLst>
          </p:nvPr>
        </p:nvGraphicFramePr>
        <p:xfrm>
          <a:off x="871538" y="1758950"/>
          <a:ext cx="10845800" cy="22590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2"/>
          </a:graphicData>
        </a:graphic>
      </p:graphicFrame>
      <p:sp>
        <p:nvSpPr>
          <p:cNvPr id="139" name="Text Placeholder 20">
            <a:extLst>
              <a:ext uri="{FF2B5EF4-FFF2-40B4-BE49-F238E27FC236}">
                <a16:creationId xmlns:a16="http://schemas.microsoft.com/office/drawing/2014/main" id="{0DC3F1F0-8484-4B71-BB4F-4DDC61D5F53E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5276850" y="3135314"/>
            <a:ext cx="2555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4AEF6842-7277-4529-9868-E6C474C39986}" type="datetime'''8''''''''''''''''''''''''''''''''''''8%'''''''''''''''">
              <a:rPr lang="ru-RU" altLang="en-US" sz="1000" smtClean="0">
                <a:solidFill>
                  <a:srgbClr val="FFFFFF"/>
                </a:solidFill>
                <a:latin typeface="+mn-lt"/>
                <a:ea typeface="+mn-ea"/>
              </a:rPr>
              <a:pPr/>
              <a:t>88%</a:t>
            </a:fld>
            <a:endParaRPr kumimoji="0" lang="ru-RU" sz="100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142" name="Text Placeholder 20">
            <a:extLst>
              <a:ext uri="{FF2B5EF4-FFF2-40B4-BE49-F238E27FC236}">
                <a16:creationId xmlns:a16="http://schemas.microsoft.com/office/drawing/2014/main" id="{03617DE8-4618-4526-9611-0383B2F3D604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3495675" y="2974976"/>
            <a:ext cx="2555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C9C819B3-6DCC-4FC7-BD9D-3300AADE3569}" type="datetime'''''''''''''''''''''''''''''''''''''''''''8''5''''%'''''''">
              <a:rPr lang="ru-RU" altLang="en-US" sz="1000" smtClean="0">
                <a:solidFill>
                  <a:srgbClr val="FFFFFF"/>
                </a:solidFill>
                <a:latin typeface="+mn-lt"/>
                <a:ea typeface="+mn-ea"/>
              </a:rPr>
              <a:pPr/>
              <a:t>85%</a:t>
            </a:fld>
            <a:endParaRPr kumimoji="0" lang="ru-RU" sz="100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140" name="Text Placeholder 20">
            <a:extLst>
              <a:ext uri="{FF2B5EF4-FFF2-40B4-BE49-F238E27FC236}">
                <a16:creationId xmlns:a16="http://schemas.microsoft.com/office/drawing/2014/main" id="{C8768D57-EE42-4E67-BC5C-61FF2EC26E4B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0501313" y="3249613"/>
            <a:ext cx="4857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871A565E-A176-43E9-B232-0BC1DEA2DE9D}" type="datetime'''''''''9'''''' 35''''''''''''''''2'''''''''''''''">
              <a:rPr lang="en-US" altLang="en-US" smtClean="0">
                <a:solidFill>
                  <a:srgbClr val="000000"/>
                </a:solidFill>
              </a:rPr>
              <a:pPr/>
              <a:t>9 352</a:t>
            </a:fld>
            <a:endParaRPr kumimoji="0" lang="ru-RU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44" name="Text Placeholder 20">
            <a:extLst>
              <a:ext uri="{FF2B5EF4-FFF2-40B4-BE49-F238E27FC236}">
                <a16:creationId xmlns:a16="http://schemas.microsoft.com/office/drawing/2014/main" id="{96FE4B2E-2E64-487B-9512-12BE4A50D7E8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716088" y="3316289"/>
            <a:ext cx="2555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37B1B540-9A19-4295-98E2-3D55EB48AFA7}" type="datetime'64''''''''''''''%'''''''''''''''''''''''''''''''''''''''''''">
              <a:rPr lang="ru-RU" altLang="en-US" sz="1000" smtClean="0">
                <a:solidFill>
                  <a:srgbClr val="FFFFFF"/>
                </a:solidFill>
                <a:latin typeface="+mn-lt"/>
                <a:ea typeface="+mn-ea"/>
              </a:rPr>
              <a:pPr/>
              <a:t>64%</a:t>
            </a:fld>
            <a:endParaRPr kumimoji="0" lang="ru-RU" sz="100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141" name="Text Placeholder 20">
            <a:extLst>
              <a:ext uri="{FF2B5EF4-FFF2-40B4-BE49-F238E27FC236}">
                <a16:creationId xmlns:a16="http://schemas.microsoft.com/office/drawing/2014/main" id="{44BB0F5D-446C-4E32-9118-177DB97A0C8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716088" y="2449514"/>
            <a:ext cx="2555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0D1BF2AC-3D57-4576-8B71-34F4AB198F16}" type="datetime'''''''''''''''''''''''''''''''36''''%'''''''">
              <a:rPr lang="ru-RU" altLang="en-US" sz="1000" smtClean="0">
                <a:solidFill>
                  <a:srgbClr val="FFFFFF"/>
                </a:solidFill>
                <a:latin typeface="+mn-lt"/>
                <a:ea typeface="+mn-ea"/>
                <a:sym typeface="ITC Avant Garde Pro Bk" panose="020B0502020202020204" pitchFamily="34" charset="0"/>
              </a:rPr>
              <a:pPr/>
              <a:t>36%</a:t>
            </a:fld>
            <a:endParaRPr kumimoji="0" lang="ru-RU" sz="100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sym typeface="ITC Avant Garde Pro Bk" panose="020B0502020202020204" pitchFamily="34" charset="0"/>
            </a:endParaRPr>
          </a:p>
        </p:txBody>
      </p:sp>
      <p:sp>
        <p:nvSpPr>
          <p:cNvPr id="143" name="Text Placeholder 20">
            <a:extLst>
              <a:ext uri="{FF2B5EF4-FFF2-40B4-BE49-F238E27FC236}">
                <a16:creationId xmlns:a16="http://schemas.microsoft.com/office/drawing/2014/main" id="{B81C3CB6-67B7-4C95-95D6-714F99692974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3495675" y="1928814"/>
            <a:ext cx="2555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551C90CB-B6CF-4D11-B71A-F0492336B9A0}" type="datetime'1''''''''''''5''''''''''''''''''%'''''''''''''''''''''''">
              <a:rPr lang="ru-RU" altLang="en-US" sz="1000" smtClean="0">
                <a:solidFill>
                  <a:srgbClr val="FFFFFF"/>
                </a:solidFill>
                <a:latin typeface="+mn-lt"/>
                <a:ea typeface="+mn-ea"/>
                <a:sym typeface="ITC Avant Garde Pro Bk" panose="020B0502020202020204" pitchFamily="34" charset="0"/>
              </a:rPr>
              <a:pPr/>
              <a:t>15%</a:t>
            </a:fld>
            <a:endParaRPr kumimoji="0" lang="ru-RU" sz="100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sym typeface="ITC Avant Garde Pro Bk" panose="020B0502020202020204" pitchFamily="34" charset="0"/>
            </a:endParaRPr>
          </a:p>
        </p:txBody>
      </p:sp>
      <p:sp>
        <p:nvSpPr>
          <p:cNvPr id="146" name="Text Placeholder 20">
            <a:extLst>
              <a:ext uri="{FF2B5EF4-FFF2-40B4-BE49-F238E27FC236}">
                <a16:creationId xmlns:a16="http://schemas.microsoft.com/office/drawing/2014/main" id="{43A22570-0A3D-4690-B220-D126019AA431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7056438" y="2568576"/>
            <a:ext cx="2555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16285A50-9E34-4915-8F7E-79AC90A76AD5}" type="datetime'''''''''''2''3''''''%'''''''''''''''''''''''''''''">
              <a:rPr lang="ru-RU" altLang="en-US" sz="1000" smtClean="0">
                <a:solidFill>
                  <a:srgbClr val="FFFFFF"/>
                </a:solidFill>
                <a:latin typeface="+mn-lt"/>
                <a:ea typeface="+mn-ea"/>
                <a:sym typeface="ITC Avant Garde Pro Bk" panose="020B0502020202020204" pitchFamily="34" charset="0"/>
              </a:rPr>
              <a:pPr/>
              <a:t>23%</a:t>
            </a:fld>
            <a:endParaRPr kumimoji="0" lang="ru-RU" sz="100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sym typeface="ITC Avant Garde Pro Bk" panose="020B0502020202020204" pitchFamily="34" charset="0"/>
            </a:endParaRPr>
          </a:p>
        </p:txBody>
      </p:sp>
      <p:sp>
        <p:nvSpPr>
          <p:cNvPr id="145" name="Text Placeholder 20">
            <a:extLst>
              <a:ext uri="{FF2B5EF4-FFF2-40B4-BE49-F238E27FC236}">
                <a16:creationId xmlns:a16="http://schemas.microsoft.com/office/drawing/2014/main" id="{D6DE08C8-9C19-42CF-A5C6-C799F6542B89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5276850" y="2303464"/>
            <a:ext cx="2555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77FDEB9C-D472-4A6C-9213-76EC97B7F5A3}" type="datetime'''''''''1''''''''2''''''''%'''''''''''''''''''''''''''''''">
              <a:rPr lang="ru-RU" altLang="en-US" sz="1000" smtClean="0">
                <a:solidFill>
                  <a:srgbClr val="FFFFFF"/>
                </a:solidFill>
                <a:latin typeface="+mn-lt"/>
                <a:ea typeface="+mn-ea"/>
                <a:sym typeface="ITC Avant Garde Pro Bk" panose="020B0502020202020204" pitchFamily="34" charset="0"/>
              </a:rPr>
              <a:pPr/>
              <a:t>12%</a:t>
            </a:fld>
            <a:endParaRPr kumimoji="0" lang="ru-RU" sz="100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sym typeface="ITC Avant Garde Pro Bk" panose="020B0502020202020204" pitchFamily="34" charset="0"/>
            </a:endParaRPr>
          </a:p>
        </p:txBody>
      </p:sp>
      <p:sp>
        <p:nvSpPr>
          <p:cNvPr id="147" name="Text Placeholder 20">
            <a:extLst>
              <a:ext uri="{FF2B5EF4-FFF2-40B4-BE49-F238E27FC236}">
                <a16:creationId xmlns:a16="http://schemas.microsoft.com/office/drawing/2014/main" id="{1E5326E4-E0F2-4DAE-A853-73F2E0BD6E8D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7056438" y="3302001"/>
            <a:ext cx="2555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4C611482-AC1F-4FEB-B96F-6A0AD47EFBDD}" type="datetime'''''''''''''''''77''''%'''''''''''''''''''''''''''">
              <a:rPr lang="ru-RU" altLang="en-US" sz="1000" smtClean="0">
                <a:solidFill>
                  <a:srgbClr val="FFFFFF"/>
                </a:solidFill>
                <a:latin typeface="+mn-lt"/>
                <a:ea typeface="+mn-ea"/>
              </a:rPr>
              <a:pPr/>
              <a:t>77%</a:t>
            </a:fld>
            <a:endParaRPr kumimoji="0" lang="ru-RU" sz="100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148" name="Text Placeholder 20">
            <a:extLst>
              <a:ext uri="{FF2B5EF4-FFF2-40B4-BE49-F238E27FC236}">
                <a16:creationId xmlns:a16="http://schemas.microsoft.com/office/drawing/2014/main" id="{5E7658F6-B165-453F-9140-254F13466974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8836025" y="3324226"/>
            <a:ext cx="255588" cy="136525"/>
          </a:xfrm>
          <a:prstGeom prst="rect">
            <a:avLst/>
          </a:prstGeom>
          <a:solidFill>
            <a:srgbClr val="969696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AE86A0B7-A932-414E-B0FD-009525BBFB0B}" type="datetime'1''0''''''''''''''''''''''%'''''''''''''''''''''''''''''">
              <a:rPr lang="ru-RU" altLang="en-US" sz="1000" smtClean="0">
                <a:solidFill>
                  <a:srgbClr val="FFFFFF"/>
                </a:solidFill>
                <a:effectLst/>
                <a:latin typeface="+mn-lt"/>
                <a:ea typeface="+mn-ea"/>
                <a:sym typeface="ITC Avant Garde Pro Bk" panose="020B0502020202020204" pitchFamily="34" charset="0"/>
              </a:rPr>
              <a:pPr/>
              <a:t>10%</a:t>
            </a:fld>
            <a:endParaRPr kumimoji="0" lang="ru-RU" sz="100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sym typeface="ITC Avant Garde Pro Bk" panose="020B0502020202020204" pitchFamily="34" charset="0"/>
            </a:endParaRPr>
          </a:p>
        </p:txBody>
      </p:sp>
      <p:sp>
        <p:nvSpPr>
          <p:cNvPr id="152" name="Text Placeholder 20">
            <a:extLst>
              <a:ext uri="{FF2B5EF4-FFF2-40B4-BE49-F238E27FC236}">
                <a16:creationId xmlns:a16="http://schemas.microsoft.com/office/drawing/2014/main" id="{FB30F5B8-5A9D-4CCF-87CD-94FA794F43C6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552575" y="2012950"/>
            <a:ext cx="582613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103CA96B-05E0-4D04-BDDC-049FE0B78BE8}" type="datetime'3''''''''''''4 ''8''1''''''''''''''''''''''''7'''''''''''''">
              <a:rPr lang="en-US" altLang="en-US" smtClean="0">
                <a:solidFill>
                  <a:srgbClr val="000000"/>
                </a:solidFill>
              </a:rPr>
              <a:pPr/>
              <a:t>34 817</a:t>
            </a:fld>
            <a:endParaRPr kumimoji="0" lang="ru-RU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49" name="Text Placeholder 20">
            <a:extLst>
              <a:ext uri="{FF2B5EF4-FFF2-40B4-BE49-F238E27FC236}">
                <a16:creationId xmlns:a16="http://schemas.microsoft.com/office/drawing/2014/main" id="{DCA497E8-1148-4BF5-8027-06EAAC02FAA5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8836025" y="3609976"/>
            <a:ext cx="2555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A7F002B9-425E-4C83-AD5A-504BAEE0C3A6}" type="datetime'''''9''''0''%'''''''''''''''''''''''''''''''''''">
              <a:rPr lang="ru-RU" altLang="en-US" sz="1000" smtClean="0">
                <a:solidFill>
                  <a:srgbClr val="FFFFFF"/>
                </a:solidFill>
                <a:latin typeface="+mn-lt"/>
                <a:ea typeface="+mn-ea"/>
              </a:rPr>
              <a:pPr/>
              <a:t>90%</a:t>
            </a:fld>
            <a:endParaRPr kumimoji="0" lang="ru-RU" sz="100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151" name="Text Placeholder 20">
            <a:extLst>
              <a:ext uri="{FF2B5EF4-FFF2-40B4-BE49-F238E27FC236}">
                <a16:creationId xmlns:a16="http://schemas.microsoft.com/office/drawing/2014/main" id="{D106190A-7CE0-4B44-86B0-39E5DE7608FB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0648950" y="3414714"/>
            <a:ext cx="190500" cy="136525"/>
          </a:xfrm>
          <a:prstGeom prst="rect">
            <a:avLst/>
          </a:prstGeom>
          <a:solidFill>
            <a:srgbClr val="969696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644E4C37-76EA-4D63-BEB6-F035FE99E202}" type="datetime'''''''''''''6''''''''''''''''''''''%'''''''''">
              <a:rPr lang="ru-RU" altLang="en-US" sz="1000" smtClean="0">
                <a:solidFill>
                  <a:srgbClr val="FFFFFF"/>
                </a:solidFill>
                <a:effectLst/>
                <a:latin typeface="+mn-lt"/>
                <a:ea typeface="+mn-ea"/>
                <a:sym typeface="ITC Avant Garde Pro Bk" panose="020B0502020202020204" pitchFamily="34" charset="0"/>
              </a:rPr>
              <a:pPr/>
              <a:t>6%</a:t>
            </a:fld>
            <a:endParaRPr kumimoji="0" lang="ru-RU" sz="100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sym typeface="ITC Avant Garde Pro Bk" panose="020B0502020202020204" pitchFamily="34" charset="0"/>
            </a:endParaRPr>
          </a:p>
        </p:txBody>
      </p:sp>
      <p:sp>
        <p:nvSpPr>
          <p:cNvPr id="150" name="Text Placeholder 20">
            <a:extLst>
              <a:ext uri="{FF2B5EF4-FFF2-40B4-BE49-F238E27FC236}">
                <a16:creationId xmlns:a16="http://schemas.microsoft.com/office/drawing/2014/main" id="{4088FA0E-31D8-49C6-958C-521DDCB5B8E3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10617200" y="3646489"/>
            <a:ext cx="2555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9B54C705-140E-41B5-8759-E713C5F8397E}" type="datetime'''''''''''9''''''''''''''''''4''''''''''''''''%'''''''">
              <a:rPr lang="ru-RU" altLang="en-US" sz="1000" smtClean="0">
                <a:solidFill>
                  <a:srgbClr val="FFFFFF"/>
                </a:solidFill>
                <a:latin typeface="+mn-lt"/>
                <a:ea typeface="+mn-ea"/>
              </a:rPr>
              <a:pPr/>
              <a:t>94%</a:t>
            </a:fld>
            <a:endParaRPr kumimoji="0" lang="ru-RU" sz="100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153" name="Text Placeholder 20">
            <a:extLst>
              <a:ext uri="{FF2B5EF4-FFF2-40B4-BE49-F238E27FC236}">
                <a16:creationId xmlns:a16="http://schemas.microsoft.com/office/drawing/2014/main" id="{95CA2FF7-DF9D-498F-9BA7-23FBA96DB186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3332163" y="1651000"/>
            <a:ext cx="582613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3C4E9D01-71CB-41AA-AB2C-9A67086F0D24}" type="datetime'''''''''4''2'' ''''''''0''''''''''''''''''''''7''''9'''">
              <a:rPr lang="en-US" altLang="en-US" smtClean="0">
                <a:solidFill>
                  <a:srgbClr val="000000"/>
                </a:solidFill>
              </a:rPr>
              <a:pPr/>
              <a:t>42 079</a:t>
            </a:fld>
            <a:endParaRPr kumimoji="0" lang="ru-RU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54" name="Text Placeholder 20">
            <a:extLst>
              <a:ext uri="{FF2B5EF4-FFF2-40B4-BE49-F238E27FC236}">
                <a16:creationId xmlns:a16="http://schemas.microsoft.com/office/drawing/2014/main" id="{E4D80698-2021-419C-952F-1B810A68F1BD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5113338" y="2081213"/>
            <a:ext cx="582613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0612501B-7BE4-4A00-A317-6BCA928F6563}" type="datetime'''3''''''3'' ''''4''''''''''''3''''''''''''''''1'''''''''''">
              <a:rPr lang="en-US" altLang="en-US" smtClean="0">
                <a:solidFill>
                  <a:srgbClr val="000000"/>
                </a:solidFill>
              </a:rPr>
              <a:pPr/>
              <a:t>33 431</a:t>
            </a:fld>
            <a:endParaRPr kumimoji="0" lang="ru-RU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55" name="Text Placeholder 20">
            <a:extLst>
              <a:ext uri="{FF2B5EF4-FFF2-40B4-BE49-F238E27FC236}">
                <a16:creationId xmlns:a16="http://schemas.microsoft.com/office/drawing/2014/main" id="{BC9CBDD7-5CB8-44CD-8388-9C5E5DB3F292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6892925" y="2278063"/>
            <a:ext cx="582613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A235ABF3-4E5A-47EF-93AE-F0E3652A94DE}" type="datetime'''''''2''''''''''''''''9'' ''''''4''''''''''75'''''''''''">
              <a:rPr lang="en-US" altLang="en-US" smtClean="0">
                <a:solidFill>
                  <a:srgbClr val="000000"/>
                </a:solidFill>
              </a:rPr>
              <a:pPr/>
              <a:t>29 475</a:t>
            </a:fld>
            <a:endParaRPr kumimoji="0" lang="ru-RU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56" name="Text Placeholder 20">
            <a:extLst>
              <a:ext uri="{FF2B5EF4-FFF2-40B4-BE49-F238E27FC236}">
                <a16:creationId xmlns:a16="http://schemas.microsoft.com/office/drawing/2014/main" id="{BAE6FD51-596D-4F49-A648-D08D11D407E8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8672513" y="3159125"/>
            <a:ext cx="582613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82542354-5CCA-4C61-82F5-C6CB8A41ADD5}" type="datetime'''''1''''''1'''' ''''''''4''''6''''''''''''''''''8'">
              <a:rPr lang="en-US" altLang="en-US" smtClean="0">
                <a:solidFill>
                  <a:srgbClr val="000000"/>
                </a:solidFill>
              </a:rPr>
              <a:pPr/>
              <a:t>11 468</a:t>
            </a:fld>
            <a:endParaRPr kumimoji="0" lang="ru-RU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58" name="Прямоугольник 189">
            <a:extLst>
              <a:ext uri="{FF2B5EF4-FFF2-40B4-BE49-F238E27FC236}">
                <a16:creationId xmlns:a16="http://schemas.microsoft.com/office/drawing/2014/main" id="{037714DF-0CD6-4F37-9F4C-9D1EEC6F4742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10280650" y="1906588"/>
            <a:ext cx="214313" cy="160338"/>
          </a:xfrm>
          <a:prstGeom prst="rect">
            <a:avLst/>
          </a:prstGeom>
          <a:solidFill>
            <a:srgbClr val="96969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7" name="Прямоугольник 191">
            <a:extLst>
              <a:ext uri="{FF2B5EF4-FFF2-40B4-BE49-F238E27FC236}">
                <a16:creationId xmlns:a16="http://schemas.microsoft.com/office/drawing/2014/main" id="{7E65373F-F017-4EC3-B0A8-A4D61148301C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10280650" y="2122488"/>
            <a:ext cx="214313" cy="160338"/>
          </a:xfrm>
          <a:prstGeom prst="rect">
            <a:avLst/>
          </a:prstGeom>
          <a:solidFill>
            <a:srgbClr val="B51B4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9" name="Text Placeholder 20">
            <a:extLst>
              <a:ext uri="{FF2B5EF4-FFF2-40B4-BE49-F238E27FC236}">
                <a16:creationId xmlns:a16="http://schemas.microsoft.com/office/drawing/2014/main" id="{C14F0BCB-E5C3-452D-9186-D6588C3B6E94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0545763" y="1901825"/>
            <a:ext cx="73660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BE05CAB9-0BDD-4578-97F4-029161042EAC}" type="datetime'''''N''''o''''''''''n-F''''oo''''''''''''''''''''''d'">
              <a:rPr lang="en-GB" altLang="en-US" smtClean="0">
                <a:solidFill>
                  <a:srgbClr val="000000"/>
                </a:solidFill>
              </a:rPr>
              <a:pPr/>
              <a:t>Non-Food</a:t>
            </a:fld>
            <a:endParaRPr kumimoji="0" lang="ru-RU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60" name="Text Placeholder 20">
            <a:extLst>
              <a:ext uri="{FF2B5EF4-FFF2-40B4-BE49-F238E27FC236}">
                <a16:creationId xmlns:a16="http://schemas.microsoft.com/office/drawing/2014/main" id="{7B0EA5CE-3F62-466A-A2CB-3D531381A9CC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10545763" y="2117725"/>
            <a:ext cx="363538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5F6BF6D3-F949-45A9-8767-393ECE70EDD5}" type="datetime'''''''''''''Fo''''''''''''''''o''''d'''''''''''''''">
              <a:rPr lang="en-GB" altLang="en-US" smtClean="0">
                <a:solidFill>
                  <a:srgbClr val="000000"/>
                </a:solidFill>
              </a:rPr>
              <a:pPr/>
              <a:t>Food</a:t>
            </a:fld>
            <a:endParaRPr kumimoji="0" lang="ru-RU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graphicFrame>
        <p:nvGraphicFramePr>
          <p:cNvPr id="204" name="Chart 203">
            <a:extLst>
              <a:ext uri="{FF2B5EF4-FFF2-40B4-BE49-F238E27FC236}">
                <a16:creationId xmlns:a16="http://schemas.microsoft.com/office/drawing/2014/main" id="{4A57E09E-F67B-4424-AF18-03090FC7A69D}"/>
              </a:ext>
            </a:extLst>
          </p:cNvPr>
          <p:cNvGraphicFramePr/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2455874549"/>
              </p:ext>
            </p:extLst>
          </p:nvPr>
        </p:nvGraphicFramePr>
        <p:xfrm>
          <a:off x="1182688" y="4967288"/>
          <a:ext cx="1277937" cy="12779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3"/>
          </a:graphicData>
        </a:graphic>
      </p:graphicFrame>
      <p:sp>
        <p:nvSpPr>
          <p:cNvPr id="162" name="Text Placeholder 20">
            <a:extLst>
              <a:ext uri="{FF2B5EF4-FFF2-40B4-BE49-F238E27FC236}">
                <a16:creationId xmlns:a16="http://schemas.microsoft.com/office/drawing/2014/main" id="{33491DC7-EC97-4C52-B62E-00AFA803B1A2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1951037" y="5414963"/>
            <a:ext cx="401638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B6CE0EBC-5704-4922-B900-8CDD454EA604}" type="datetime'''''''''''''''4''''''''''''8''''''''%'''''''''''''''''''">
              <a:rPr lang="ru-RU" altLang="en-US" smtClean="0">
                <a:solidFill>
                  <a:srgbClr val="FFFFFF"/>
                </a:solidFill>
              </a:rPr>
              <a:pPr/>
              <a:t>48%</a:t>
            </a:fld>
            <a:br>
              <a:rPr kumimoji="0" lang="ru-RU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+mn-cs"/>
              </a:rPr>
            </a:br>
            <a:r>
              <a:rPr kumimoji="0" lang="ru-RU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+mn-cs"/>
              </a:rPr>
              <a:t>(</a:t>
            </a:r>
            <a:fld id="{1C38F812-332B-4F1B-8481-C7C7332E497D}" type="datetime'''''''1''''''''''''''''9'''''''''''''''''''''''">
              <a:rPr lang="ru-RU" altLang="en-US" smtClean="0">
                <a:solidFill>
                  <a:srgbClr val="FFFFFF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9</a:t>
            </a:fld>
            <a:r>
              <a:rPr kumimoji="0" lang="ru-RU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+mn-cs"/>
              </a:rPr>
              <a:t>)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+mn-cs"/>
            </a:endParaRPr>
          </a:p>
        </p:txBody>
      </p:sp>
      <p:sp>
        <p:nvSpPr>
          <p:cNvPr id="163" name="Text Placeholder 20">
            <a:extLst>
              <a:ext uri="{FF2B5EF4-FFF2-40B4-BE49-F238E27FC236}">
                <a16:creationId xmlns:a16="http://schemas.microsoft.com/office/drawing/2014/main" id="{0577123B-DF49-4316-8356-44616996E1B6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1282701" y="5494338"/>
            <a:ext cx="447675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5BCDE2E3-BD38-47EA-AD6D-243ACB10ABD6}" type="datetime'''''''''''''''''''''''2''''''''''''''''''''''''''''1'''''''">
              <a:rPr lang="ru-RU" altLang="en-US" sz="1000" smtClean="0">
                <a:solidFill>
                  <a:srgbClr val="FFFFFF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21</a:t>
            </a:fld>
            <a:br>
              <a:rPr kumimoji="0" lang="ru-RU" alt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+mn-cs"/>
              </a:rPr>
            </a:br>
            <a:r>
              <a:rPr kumimoji="0" lang="ru-RU" alt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+mn-cs"/>
              </a:rPr>
              <a:t>(</a:t>
            </a:r>
            <a:fld id="{32C62214-7211-4418-BB3B-A61C2A7E8A5F}" type="datetime'5''3''''''''%'''''''''''''''''''''''''''''">
              <a:rPr lang="ru-RU" altLang="en-US" sz="1000" smtClean="0">
                <a:solidFill>
                  <a:srgbClr val="FFFFFF"/>
                </a:solidFill>
              </a:rPr>
              <a:pPr/>
              <a:t>53%</a:t>
            </a:fld>
            <a:r>
              <a:rPr kumimoji="0" lang="ru-RU" alt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+mn-cs"/>
              </a:rPr>
              <a:t>)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+mn-cs"/>
            </a:endParaRPr>
          </a:p>
        </p:txBody>
      </p:sp>
      <p:graphicFrame>
        <p:nvGraphicFramePr>
          <p:cNvPr id="206" name="Chart 205">
            <a:extLst>
              <a:ext uri="{FF2B5EF4-FFF2-40B4-BE49-F238E27FC236}">
                <a16:creationId xmlns:a16="http://schemas.microsoft.com/office/drawing/2014/main" id="{705E5411-6011-4270-B00A-4B58D12A541A}"/>
              </a:ext>
            </a:extLst>
          </p:cNvPr>
          <p:cNvGraphicFramePr/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3257788788"/>
              </p:ext>
            </p:extLst>
          </p:nvPr>
        </p:nvGraphicFramePr>
        <p:xfrm>
          <a:off x="3021013" y="4967288"/>
          <a:ext cx="1277937" cy="12779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4"/>
          </a:graphicData>
        </a:graphic>
      </p:graphicFrame>
      <p:sp>
        <p:nvSpPr>
          <p:cNvPr id="165" name="Text Placeholder 20">
            <a:extLst>
              <a:ext uri="{FF2B5EF4-FFF2-40B4-BE49-F238E27FC236}">
                <a16:creationId xmlns:a16="http://schemas.microsoft.com/office/drawing/2014/main" id="{877270E4-D5E8-4758-A1BE-F20DC5438297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3668714" y="5283200"/>
            <a:ext cx="447675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32C3A421-A453-4E6F-9941-55B745BF3EBA}" type="datetime'''''''''6'''''''''''''''''''''''''''''''''''''">
              <a:rPr lang="ru-RU" altLang="en-US" sz="1000" smtClean="0">
                <a:solidFill>
                  <a:srgbClr val="FFFFFF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6</a:t>
            </a:fld>
            <a:br>
              <a:rPr kumimoji="0" lang="ru-RU" alt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+mn-cs"/>
              </a:rPr>
            </a:br>
            <a:r>
              <a:rPr kumimoji="0" lang="ru-RU" alt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+mn-cs"/>
              </a:rPr>
              <a:t>(</a:t>
            </a:r>
            <a:fld id="{301004F4-D180-47D0-A1A9-A01A19DC5609}" type="datetime'''''2''''9''''''''''''''''''''%'''''''''''''''''''''''''''''''">
              <a:rPr lang="ru-RU" altLang="en-US" sz="1000" smtClean="0">
                <a:solidFill>
                  <a:srgbClr val="FFFFFF"/>
                </a:solidFill>
              </a:rPr>
              <a:pPr/>
              <a:t>29%</a:t>
            </a:fld>
            <a:r>
              <a:rPr kumimoji="0" lang="ru-RU" alt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+mn-cs"/>
              </a:rPr>
              <a:t>)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+mn-cs"/>
            </a:endParaRPr>
          </a:p>
        </p:txBody>
      </p:sp>
      <p:sp>
        <p:nvSpPr>
          <p:cNvPr id="166" name="Text Placeholder 20">
            <a:extLst>
              <a:ext uri="{FF2B5EF4-FFF2-40B4-BE49-F238E27FC236}">
                <a16:creationId xmlns:a16="http://schemas.microsoft.com/office/drawing/2014/main" id="{FF6BCBEC-7259-43B1-A438-19354D4F8089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3201989" y="5654675"/>
            <a:ext cx="447675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88EE7C01-568B-42C7-AF4E-EFF23350BECC}" type="datetime'''''''''1''''''''5'''''''''''''">
              <a:rPr lang="ru-RU" altLang="en-US" sz="1000" smtClean="0">
                <a:solidFill>
                  <a:srgbClr val="FFFFFF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5</a:t>
            </a:fld>
            <a:br>
              <a:rPr kumimoji="0" lang="ru-RU" alt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+mn-cs"/>
              </a:rPr>
            </a:br>
            <a:r>
              <a:rPr kumimoji="0" lang="ru-RU" alt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+mn-cs"/>
              </a:rPr>
              <a:t>(</a:t>
            </a:r>
            <a:fld id="{779B1467-CE57-425C-96C0-52F5ABDD5C9F}" type="datetime'''''''''''''7''''''''''''''''1''''%'''''''''''''">
              <a:rPr lang="ru-RU" altLang="en-US" sz="1000" smtClean="0">
                <a:solidFill>
                  <a:srgbClr val="FFFFFF"/>
                </a:solidFill>
              </a:rPr>
              <a:pPr/>
              <a:t>71%</a:t>
            </a:fld>
            <a:r>
              <a:rPr kumimoji="0" lang="ru-RU" alt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+mn-cs"/>
              </a:rPr>
              <a:t>)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+mn-cs"/>
            </a:endParaRPr>
          </a:p>
        </p:txBody>
      </p:sp>
      <p:graphicFrame>
        <p:nvGraphicFramePr>
          <p:cNvPr id="214" name="Chart 213">
            <a:extLst>
              <a:ext uri="{FF2B5EF4-FFF2-40B4-BE49-F238E27FC236}">
                <a16:creationId xmlns:a16="http://schemas.microsoft.com/office/drawing/2014/main" id="{17891385-74A8-4914-85A5-1B9E43B13BFB}"/>
              </a:ext>
            </a:extLst>
          </p:cNvPr>
          <p:cNvGraphicFramePr/>
          <p:nvPr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928677901"/>
              </p:ext>
            </p:extLst>
          </p:nvPr>
        </p:nvGraphicFramePr>
        <p:xfrm>
          <a:off x="4746625" y="4967288"/>
          <a:ext cx="1277938" cy="12779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5"/>
          </a:graphicData>
        </a:graphic>
      </p:graphicFrame>
      <p:sp>
        <p:nvSpPr>
          <p:cNvPr id="169" name="Text Placeholder 20">
            <a:extLst>
              <a:ext uri="{FF2B5EF4-FFF2-40B4-BE49-F238E27FC236}">
                <a16:creationId xmlns:a16="http://schemas.microsoft.com/office/drawing/2014/main" id="{1782A9B3-1C75-4AC4-9836-8BD032CF983F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4948239" y="5681663"/>
            <a:ext cx="447675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6A4202D6-A7F0-44D7-A7A9-E5C88DE1B151}" type="datetime'''''''''''''''''''''''''''15'''''''''''''''''''''''''''">
              <a:rPr lang="ru-RU" altLang="en-US" sz="1000" smtClean="0">
                <a:solidFill>
                  <a:srgbClr val="FFFFFF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5</a:t>
            </a:fld>
            <a:br>
              <a:rPr kumimoji="0" lang="ru-RU" alt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+mn-cs"/>
              </a:rPr>
            </a:br>
            <a:r>
              <a:rPr kumimoji="0" lang="ru-RU" alt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+mn-cs"/>
              </a:rPr>
              <a:t>(</a:t>
            </a:r>
            <a:fld id="{3E30DD85-5EFE-436A-BC74-5CEEA3062078}" type="datetime'''7''''''''''''''5''''''''''''''''''''''''''''%'''''''''''''">
              <a:rPr lang="ru-RU" altLang="en-US" sz="1000" smtClean="0">
                <a:solidFill>
                  <a:srgbClr val="FFFFFF"/>
                </a:solidFill>
              </a:rPr>
              <a:pPr/>
              <a:t>75%</a:t>
            </a:fld>
            <a:r>
              <a:rPr kumimoji="0" lang="ru-RU" alt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+mn-cs"/>
              </a:rPr>
              <a:t>)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+mn-cs"/>
            </a:endParaRPr>
          </a:p>
        </p:txBody>
      </p:sp>
      <p:sp>
        <p:nvSpPr>
          <p:cNvPr id="168" name="Text Placeholder 20">
            <a:extLst>
              <a:ext uri="{FF2B5EF4-FFF2-40B4-BE49-F238E27FC236}">
                <a16:creationId xmlns:a16="http://schemas.microsoft.com/office/drawing/2014/main" id="{FF97B6BB-E723-45AC-A9E8-3D0AEC576536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5373689" y="5256213"/>
            <a:ext cx="447675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B99B7699-4614-437D-A42B-5083709E4B8E}" type="datetime'''''''''''''''''''''''''''''5'''''''''''''''''''''''''''''">
              <a:rPr lang="ru-RU" altLang="en-US" sz="1000" smtClean="0">
                <a:solidFill>
                  <a:srgbClr val="FFFFFF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5</a:t>
            </a:fld>
            <a:br>
              <a:rPr kumimoji="0" lang="ru-RU" alt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+mn-cs"/>
              </a:rPr>
            </a:br>
            <a:r>
              <a:rPr kumimoji="0" lang="ru-RU" alt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+mn-cs"/>
              </a:rPr>
              <a:t>(</a:t>
            </a:r>
            <a:fld id="{BC131287-11C1-41C6-AAED-F83F1903D57B}" type="datetime'''''''''2''''''''''''''''5''''''''%'''''''''''''''''''''">
              <a:rPr lang="ru-RU" altLang="en-US" sz="1000" smtClean="0">
                <a:solidFill>
                  <a:srgbClr val="FFFFFF"/>
                </a:solidFill>
              </a:rPr>
              <a:pPr/>
              <a:t>25%</a:t>
            </a:fld>
            <a:r>
              <a:rPr kumimoji="0" lang="ru-RU" alt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+mn-cs"/>
              </a:rPr>
              <a:t>)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+mn-cs"/>
            </a:endParaRPr>
          </a:p>
        </p:txBody>
      </p:sp>
      <p:graphicFrame>
        <p:nvGraphicFramePr>
          <p:cNvPr id="213" name="Chart 212">
            <a:extLst>
              <a:ext uri="{FF2B5EF4-FFF2-40B4-BE49-F238E27FC236}">
                <a16:creationId xmlns:a16="http://schemas.microsoft.com/office/drawing/2014/main" id="{C7F56A78-8DC4-439D-96A3-ECF2AEDB6DF6}"/>
              </a:ext>
            </a:extLst>
          </p:cNvPr>
          <p:cNvGraphicFramePr/>
          <p:nvPr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4187317567"/>
              </p:ext>
            </p:extLst>
          </p:nvPr>
        </p:nvGraphicFramePr>
        <p:xfrm>
          <a:off x="6556375" y="4967288"/>
          <a:ext cx="1277938" cy="12779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6"/>
          </a:graphicData>
        </a:graphic>
      </p:graphicFrame>
      <p:sp>
        <p:nvSpPr>
          <p:cNvPr id="172" name="Text Placeholder 20">
            <a:extLst>
              <a:ext uri="{FF2B5EF4-FFF2-40B4-BE49-F238E27FC236}">
                <a16:creationId xmlns:a16="http://schemas.microsoft.com/office/drawing/2014/main" id="{56CDC764-5282-4F44-956F-27C9DA38448D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7273926" y="5414963"/>
            <a:ext cx="447675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80AB7ADF-8612-494B-8C04-CE74BE3F2B8E}" type="datetime'''''''''''''''''''''1''''''''''''''''''''''''''2'''''''''''''">
              <a:rPr lang="ru-RU" altLang="en-US" sz="1000" smtClean="0">
                <a:solidFill>
                  <a:srgbClr val="FFFFFF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2</a:t>
            </a:fld>
            <a:br>
              <a:rPr kumimoji="0" lang="ru-RU" alt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+mn-cs"/>
              </a:rPr>
            </a:br>
            <a:r>
              <a:rPr kumimoji="0" lang="ru-RU" alt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+mn-cs"/>
              </a:rPr>
              <a:t>(</a:t>
            </a:r>
            <a:fld id="{79BD5544-47E2-4142-B819-8C784878DC75}" type="datetime'''''''''''''''''''''''''''''''''''''''''''44''%'''''''''''''''">
              <a:rPr lang="ru-RU" altLang="en-US" sz="1000" smtClean="0">
                <a:solidFill>
                  <a:srgbClr val="FFFFFF"/>
                </a:solidFill>
              </a:rPr>
              <a:pPr/>
              <a:t>44%</a:t>
            </a:fld>
            <a:r>
              <a:rPr kumimoji="0" lang="ru-RU" alt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+mn-cs"/>
              </a:rPr>
              <a:t>)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+mn-cs"/>
            </a:endParaRPr>
          </a:p>
        </p:txBody>
      </p:sp>
      <p:sp>
        <p:nvSpPr>
          <p:cNvPr id="171" name="Text Placeholder 20">
            <a:extLst>
              <a:ext uri="{FF2B5EF4-FFF2-40B4-BE49-F238E27FC236}">
                <a16:creationId xmlns:a16="http://schemas.microsoft.com/office/drawing/2014/main" id="{2470B2EE-8C98-4FFD-94FC-0FB15285C951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6667501" y="5522913"/>
            <a:ext cx="447675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B414F044-B8C7-4779-9D08-46037628CB21}" type="datetime'''''''''''''''''1''''''''''5'''''''''''''''''''''''''">
              <a:rPr lang="ru-RU" altLang="en-US" sz="1000" smtClean="0">
                <a:solidFill>
                  <a:srgbClr val="FFFFFF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5</a:t>
            </a:fld>
            <a:br>
              <a:rPr kumimoji="0" lang="ru-RU" alt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+mn-cs"/>
              </a:rPr>
            </a:br>
            <a:r>
              <a:rPr kumimoji="0" lang="ru-RU" alt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+mn-cs"/>
              </a:rPr>
              <a:t>(</a:t>
            </a:r>
            <a:fld id="{67317E3D-E7F8-4C54-A216-7B11B3F41313}" type="datetime'''5''''''''''''''''''''6''''''''''''''%'''''''''''">
              <a:rPr lang="ru-RU" altLang="en-US" sz="1000" smtClean="0">
                <a:solidFill>
                  <a:srgbClr val="FFFFFF"/>
                </a:solidFill>
              </a:rPr>
              <a:pPr/>
              <a:t>56%</a:t>
            </a:fld>
            <a:r>
              <a:rPr kumimoji="0" lang="ru-RU" alt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+mn-cs"/>
              </a:rPr>
              <a:t>)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+mn-cs"/>
            </a:endParaRPr>
          </a:p>
        </p:txBody>
      </p:sp>
      <p:graphicFrame>
        <p:nvGraphicFramePr>
          <p:cNvPr id="212" name="Chart 211">
            <a:extLst>
              <a:ext uri="{FF2B5EF4-FFF2-40B4-BE49-F238E27FC236}">
                <a16:creationId xmlns:a16="http://schemas.microsoft.com/office/drawing/2014/main" id="{AA19A436-EF5A-4312-B4C7-EB095BD4BC63}"/>
              </a:ext>
            </a:extLst>
          </p:cNvPr>
          <p:cNvGraphicFramePr/>
          <p:nvPr>
            <p:custDataLst>
              <p:tags r:id="rId37"/>
            </p:custDataLst>
            <p:extLst>
              <p:ext uri="{D42A27DB-BD31-4B8C-83A1-F6EECF244321}">
                <p14:modId xmlns:p14="http://schemas.microsoft.com/office/powerpoint/2010/main" val="864755248"/>
              </p:ext>
            </p:extLst>
          </p:nvPr>
        </p:nvGraphicFramePr>
        <p:xfrm>
          <a:off x="8374063" y="4967288"/>
          <a:ext cx="1277937" cy="12779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7"/>
          </a:graphicData>
        </a:graphic>
      </p:graphicFrame>
      <p:sp>
        <p:nvSpPr>
          <p:cNvPr id="174" name="Text Placeholder 20">
            <a:extLst>
              <a:ext uri="{FF2B5EF4-FFF2-40B4-BE49-F238E27FC236}">
                <a16:creationId xmlns:a16="http://schemas.microsoft.com/office/drawing/2014/main" id="{F8B6A970-605F-483B-9B5B-7786CB73130F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9045576" y="5319713"/>
            <a:ext cx="447675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37C92D04-5AEE-45E0-B458-43A44ECF24FF}" type="datetime'''3'''''''''''''''''''''''''''">
              <a:rPr lang="ru-RU" altLang="en-US" sz="1000" smtClean="0">
                <a:solidFill>
                  <a:srgbClr val="FFFFFF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3</a:t>
            </a:fld>
            <a:br>
              <a:rPr kumimoji="0" lang="ru-RU" alt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+mn-cs"/>
              </a:rPr>
            </a:br>
            <a:r>
              <a:rPr kumimoji="0" lang="ru-RU" alt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+mn-cs"/>
              </a:rPr>
              <a:t>(</a:t>
            </a:r>
            <a:fld id="{5F943B0C-D806-4B5C-86B8-3A548166FAD9}" type="datetime'''''''''''''''''''''''''3''3''''''''%'''''''''">
              <a:rPr lang="ru-RU" altLang="en-US" sz="1000" smtClean="0">
                <a:solidFill>
                  <a:srgbClr val="FFFFFF"/>
                </a:solidFill>
              </a:rPr>
              <a:pPr/>
              <a:t>33%</a:t>
            </a:fld>
            <a:r>
              <a:rPr kumimoji="0" lang="ru-RU" alt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+mn-cs"/>
              </a:rPr>
              <a:t>)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+mn-cs"/>
            </a:endParaRPr>
          </a:p>
        </p:txBody>
      </p:sp>
      <p:sp>
        <p:nvSpPr>
          <p:cNvPr id="175" name="Text Placeholder 20">
            <a:extLst>
              <a:ext uri="{FF2B5EF4-FFF2-40B4-BE49-F238E27FC236}">
                <a16:creationId xmlns:a16="http://schemas.microsoft.com/office/drawing/2014/main" id="{B4D1751B-BBE1-4958-8A11-926211719E0E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8531226" y="5618163"/>
            <a:ext cx="447675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7D2A99C0-2A58-4AA7-BE36-6FB86848117F}" type="datetime'''''6'''''''''''''''''''''''''''''''''''''''''''''''''">
              <a:rPr lang="ru-RU" altLang="en-US" sz="1000" smtClean="0">
                <a:solidFill>
                  <a:srgbClr val="FFFFFF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6</a:t>
            </a:fld>
            <a:br>
              <a:rPr kumimoji="0" lang="ru-RU" alt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+mn-cs"/>
              </a:rPr>
            </a:br>
            <a:r>
              <a:rPr kumimoji="0" lang="ru-RU" alt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+mn-cs"/>
              </a:rPr>
              <a:t>(</a:t>
            </a:r>
            <a:fld id="{0B240CD9-A678-422D-8D68-3DFF7254A30E}" type="datetime'''''''''6''''''''''''''7''''''''''''''''''''''''''''''''%'''">
              <a:rPr lang="ru-RU" altLang="en-US" sz="1000" smtClean="0">
                <a:solidFill>
                  <a:srgbClr val="FFFFFF"/>
                </a:solidFill>
              </a:rPr>
              <a:pPr/>
              <a:t>67%</a:t>
            </a:fld>
            <a:r>
              <a:rPr kumimoji="0" lang="ru-RU" alt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+mn-cs"/>
              </a:rPr>
              <a:t>)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+mn-cs"/>
            </a:endParaRPr>
          </a:p>
        </p:txBody>
      </p:sp>
      <p:graphicFrame>
        <p:nvGraphicFramePr>
          <p:cNvPr id="211" name="Chart 210">
            <a:extLst>
              <a:ext uri="{FF2B5EF4-FFF2-40B4-BE49-F238E27FC236}">
                <a16:creationId xmlns:a16="http://schemas.microsoft.com/office/drawing/2014/main" id="{9563811B-574A-4DB3-B110-78E9BBE10AAC}"/>
              </a:ext>
            </a:extLst>
          </p:cNvPr>
          <p:cNvGraphicFramePr/>
          <p:nvPr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2927784370"/>
              </p:ext>
            </p:extLst>
          </p:nvPr>
        </p:nvGraphicFramePr>
        <p:xfrm>
          <a:off x="10210800" y="4967288"/>
          <a:ext cx="1277938" cy="12779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8"/>
          </a:graphicData>
        </a:graphic>
      </p:graphicFrame>
      <p:sp>
        <p:nvSpPr>
          <p:cNvPr id="177" name="Text Placeholder 20">
            <a:extLst>
              <a:ext uri="{FF2B5EF4-FFF2-40B4-BE49-F238E27FC236}">
                <a16:creationId xmlns:a16="http://schemas.microsoft.com/office/drawing/2014/main" id="{8FC1073C-C629-4AA5-B5BF-63DF87E7EC26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10866439" y="5295900"/>
            <a:ext cx="447675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7C32A918-676D-4D3C-9C1E-E18A651F7A42}" type="datetime'''''''1''''''''''''''''''''''0'''''''''''''''''">
              <a:rPr lang="ru-RU" altLang="en-US" sz="1000" smtClean="0">
                <a:solidFill>
                  <a:srgbClr val="FFFFFF"/>
                </a:solidFill>
                <a:effectLst/>
              </a:rPr>
              <a:pPr/>
              <a:t>10</a:t>
            </a:fld>
            <a:br>
              <a:rPr kumimoji="0" lang="ru-RU" alt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+mn-cs"/>
              </a:rPr>
            </a:br>
            <a:r>
              <a:rPr kumimoji="0" lang="ru-RU" alt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+mn-cs"/>
              </a:rPr>
              <a:t>(</a:t>
            </a:r>
            <a:fld id="{876714B5-EEC3-41BD-868F-F4D668E53931}" type="datetime'''''''''''''''''''''''''''''''''''''''30''%'''''''''''''''">
              <a:rPr lang="ru-RU" altLang="en-US" sz="1000" smtClean="0">
                <a:solidFill>
                  <a:srgbClr val="FFFFFF"/>
                </a:solidFill>
                <a:effectLst/>
              </a:rPr>
              <a:pPr/>
              <a:t>30%</a:t>
            </a:fld>
            <a:r>
              <a:rPr kumimoji="0" lang="ru-RU" alt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+mn-cs"/>
              </a:rPr>
              <a:t>)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+mn-cs"/>
            </a:endParaRPr>
          </a:p>
        </p:txBody>
      </p:sp>
      <p:sp>
        <p:nvSpPr>
          <p:cNvPr id="178" name="Text Placeholder 20">
            <a:extLst>
              <a:ext uri="{FF2B5EF4-FFF2-40B4-BE49-F238E27FC236}">
                <a16:creationId xmlns:a16="http://schemas.microsoft.com/office/drawing/2014/main" id="{01D3291D-DD9D-4538-A223-DA8720A1653C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10383839" y="5641975"/>
            <a:ext cx="447675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29E42193-82B6-4149-820D-74084F495792}" type="datetime'''''''''''''''''''''2''''''''3'''''''">
              <a:rPr lang="ru-RU" altLang="en-US" sz="1000" smtClean="0">
                <a:solidFill>
                  <a:srgbClr val="FFFFFF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23</a:t>
            </a:fld>
            <a:br>
              <a:rPr kumimoji="0" lang="ru-RU" alt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+mn-cs"/>
              </a:rPr>
            </a:br>
            <a:r>
              <a:rPr kumimoji="0" lang="ru-RU" alt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+mn-cs"/>
              </a:rPr>
              <a:t>(</a:t>
            </a:r>
            <a:fld id="{D1F3B39E-EE75-4B1F-A3B4-BF1E1A732E50}" type="datetime'''7''0''''''''%'''''''''''''">
              <a:rPr lang="ru-RU" altLang="en-US" sz="1000" smtClean="0">
                <a:solidFill>
                  <a:srgbClr val="FFFFFF"/>
                </a:solidFill>
              </a:rPr>
              <a:pPr/>
              <a:t>70%</a:t>
            </a:fld>
            <a:r>
              <a:rPr kumimoji="0" lang="ru-RU" alt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+mn-cs"/>
              </a:rPr>
              <a:t>)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+mn-cs"/>
            </a:endParaRPr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73EA1985-B5FD-4762-8226-8AAF23DFBE42}"/>
              </a:ext>
            </a:extLst>
          </p:cNvPr>
          <p:cNvSpPr txBox="1"/>
          <p:nvPr/>
        </p:nvSpPr>
        <p:spPr bwMode="gray">
          <a:xfrm>
            <a:off x="688183" y="4562476"/>
            <a:ext cx="11029155" cy="1717221"/>
          </a:xfrm>
          <a:prstGeom prst="rect">
            <a:avLst/>
          </a:prstGeom>
          <a:ln>
            <a:solidFill>
              <a:srgbClr val="797878"/>
            </a:solidFill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umber of groups per each class</a:t>
            </a:r>
          </a:p>
        </p:txBody>
      </p:sp>
      <p:sp>
        <p:nvSpPr>
          <p:cNvPr id="215" name="Slide Number Placeholder 214">
            <a:extLst>
              <a:ext uri="{FF2B5EF4-FFF2-40B4-BE49-F238E27FC236}">
                <a16:creationId xmlns:a16="http://schemas.microsoft.com/office/drawing/2014/main" id="{2CFB0369-DC36-482B-A467-A11677D285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6D2641-81B4-4FA9-AABA-CD0BE301EB4F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632183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87FE76A-9012-4AA0-A03D-C83BCCCBF0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0525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4" imgW="378" imgH="377" progId="TCLayout.ActiveDocument.1">
                  <p:embed/>
                </p:oleObj>
              </mc:Choice>
              <mc:Fallback>
                <p:oleObj name="think-cell Slide" r:id="rId124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F00F3B7-3C23-4F61-9EAE-04D05E21FF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6D2641-81B4-4FA9-AABA-CD0BE301EB4F}" type="slidenum">
              <a:rPr lang="en-US" smtClean="0"/>
              <a:t>34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E72411E-E535-43F7-8337-1000A7D59127}"/>
              </a:ext>
            </a:extLst>
          </p:cNvPr>
          <p:cNvSpPr txBox="1"/>
          <p:nvPr/>
        </p:nvSpPr>
        <p:spPr>
          <a:xfrm>
            <a:off x="688184" y="556502"/>
            <a:ext cx="11016135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1B262A"/>
                </a:solidFill>
                <a:latin typeface="ITC Avant Garde Pro Md" panose="020B0602020202020204" pitchFamily="34" charset="0"/>
              </a:rPr>
              <a:t>Competitors’ assortment analysis: Food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B4E03F8-7FFC-433A-9F72-1955DECFB478}"/>
              </a:ext>
            </a:extLst>
          </p:cNvPr>
          <p:cNvCxnSpPr>
            <a:cxnSpLocks/>
          </p:cNvCxnSpPr>
          <p:nvPr/>
        </p:nvCxnSpPr>
        <p:spPr>
          <a:xfrm>
            <a:off x="688185" y="1082000"/>
            <a:ext cx="1101613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EB816714-6739-434C-A415-53AF06335371}"/>
              </a:ext>
            </a:extLst>
          </p:cNvPr>
          <p:cNvSpPr txBox="1"/>
          <p:nvPr/>
        </p:nvSpPr>
        <p:spPr bwMode="gray">
          <a:xfrm>
            <a:off x="688184" y="1173627"/>
            <a:ext cx="11148384" cy="5110821"/>
          </a:xfrm>
          <a:prstGeom prst="rect">
            <a:avLst/>
          </a:prstGeom>
          <a:ln w="9525">
            <a:solidFill>
              <a:srgbClr val="797878"/>
            </a:solidFill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                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umber of SKUs per each group in Food class</a:t>
            </a: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9" name="Picture 8" descr="Logo, company name&#10;&#10;Description automatically generated">
            <a:extLst>
              <a:ext uri="{FF2B5EF4-FFF2-40B4-BE49-F238E27FC236}">
                <a16:creationId xmlns:a16="http://schemas.microsoft.com/office/drawing/2014/main" id="{6C5A12D2-6634-4210-AFC5-6DFB0CF0565A}"/>
              </a:ext>
            </a:extLst>
          </p:cNvPr>
          <p:cNvPicPr>
            <a:picLocks noChangeAspect="1"/>
          </p:cNvPicPr>
          <p:nvPr/>
        </p:nvPicPr>
        <p:blipFill rotWithShape="1">
          <a:blip r:embed="rId1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57" t="28662" r="10750" b="29903"/>
          <a:stretch/>
        </p:blipFill>
        <p:spPr>
          <a:xfrm>
            <a:off x="4336256" y="1579359"/>
            <a:ext cx="1274763" cy="298990"/>
          </a:xfrm>
          <a:prstGeom prst="rect">
            <a:avLst/>
          </a:prstGeom>
        </p:spPr>
      </p:pic>
      <p:pic>
        <p:nvPicPr>
          <p:cNvPr id="10" name="Picture 9" descr="Logo, company name&#10;&#10;Description automatically generated">
            <a:extLst>
              <a:ext uri="{FF2B5EF4-FFF2-40B4-BE49-F238E27FC236}">
                <a16:creationId xmlns:a16="http://schemas.microsoft.com/office/drawing/2014/main" id="{5169A8A7-039E-41FA-A8A7-EEE2025321E3}"/>
              </a:ext>
            </a:extLst>
          </p:cNvPr>
          <p:cNvPicPr>
            <a:picLocks noChangeAspect="1"/>
          </p:cNvPicPr>
          <p:nvPr/>
        </p:nvPicPr>
        <p:blipFill rotWithShape="1">
          <a:blip r:embed="rId1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61" t="25662" r="8056" b="25662"/>
          <a:stretch/>
        </p:blipFill>
        <p:spPr>
          <a:xfrm>
            <a:off x="6157802" y="1545356"/>
            <a:ext cx="1273175" cy="336618"/>
          </a:xfrm>
          <a:prstGeom prst="rect">
            <a:avLst/>
          </a:prstGeom>
        </p:spPr>
      </p:pic>
      <p:pic>
        <p:nvPicPr>
          <p:cNvPr id="11" name="Picture 10" descr="A picture containing text, clock&#10;&#10;Description automatically generated">
            <a:extLst>
              <a:ext uri="{FF2B5EF4-FFF2-40B4-BE49-F238E27FC236}">
                <a16:creationId xmlns:a16="http://schemas.microsoft.com/office/drawing/2014/main" id="{D9C7EDEA-0F45-41C1-8C67-3CD5F3038411}"/>
              </a:ext>
            </a:extLst>
          </p:cNvPr>
          <p:cNvPicPr>
            <a:picLocks noChangeAspect="1"/>
          </p:cNvPicPr>
          <p:nvPr/>
        </p:nvPicPr>
        <p:blipFill>
          <a:blip r:embed="rId1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9381" y="1585909"/>
            <a:ext cx="1040119" cy="265116"/>
          </a:xfrm>
          <a:prstGeom prst="rect">
            <a:avLst/>
          </a:prstGeom>
        </p:spPr>
      </p:pic>
      <p:pic>
        <p:nvPicPr>
          <p:cNvPr id="12" name="Picture 11" descr="A picture containing icon&#10;&#10;Description automatically generated">
            <a:extLst>
              <a:ext uri="{FF2B5EF4-FFF2-40B4-BE49-F238E27FC236}">
                <a16:creationId xmlns:a16="http://schemas.microsoft.com/office/drawing/2014/main" id="{74A8A4B6-7044-483A-BEE7-C20F52CBD3F2}"/>
              </a:ext>
            </a:extLst>
          </p:cNvPr>
          <p:cNvPicPr>
            <a:picLocks noChangeAspect="1"/>
          </p:cNvPicPr>
          <p:nvPr/>
        </p:nvPicPr>
        <p:blipFill>
          <a:blip r:embed="rId1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4761" y="1601892"/>
            <a:ext cx="1016077" cy="210386"/>
          </a:xfrm>
          <a:prstGeom prst="rect">
            <a:avLst/>
          </a:prstGeom>
        </p:spPr>
      </p:pic>
      <p:graphicFrame>
        <p:nvGraphicFramePr>
          <p:cNvPr id="150" name="Chart 149">
            <a:extLst>
              <a:ext uri="{FF2B5EF4-FFF2-40B4-BE49-F238E27FC236}">
                <a16:creationId xmlns:a16="http://schemas.microsoft.com/office/drawing/2014/main" id="{688F8BE1-5AA3-4A1F-8221-D741BAA7D7CF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8155060"/>
              </p:ext>
            </p:extLst>
          </p:nvPr>
        </p:nvGraphicFramePr>
        <p:xfrm>
          <a:off x="2581275" y="1851025"/>
          <a:ext cx="1500188" cy="4464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0"/>
          </a:graphicData>
        </a:graphic>
      </p:graphicFrame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F7689B3-698E-401E-90E8-1D53EEC6C624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H="1">
            <a:off x="2765425" y="6129338"/>
            <a:ext cx="412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2E5CE120-F3BA-489A-9379-6DD08C8D5CCC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H="1">
            <a:off x="2787650" y="5924550"/>
            <a:ext cx="635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97F09A9-4A4A-4029-BC4E-DD56CA971BAA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H="1">
            <a:off x="2803525" y="5719763"/>
            <a:ext cx="777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E8EF1D5E-D3DA-4C19-992A-BB347FAC377A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155950" y="2185988"/>
            <a:ext cx="32543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A0EB1895-1529-4CAB-84B4-A11785ADF963}" type="datetime'''''''2''''''.''''''''''''''5''''''''''''''''''''''9''1'">
              <a:rPr lang="en-US" altLang="en-US" sz="800" smtClean="0">
                <a:solidFill>
                  <a:srgbClr val="FFFFFF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2.591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4D881353-C7EF-4DEE-9D98-6FC5F9740CF3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3035300" y="2595563"/>
            <a:ext cx="32543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59F5DC02-3A50-46A8-8B81-7D3E513E6F92}" type="datetime'''''2''.''''0''''''''''''''''''''''4''''''''''''''''''1'''''">
              <a:rPr lang="en-US" altLang="en-US" sz="800" smtClean="0">
                <a:solidFill>
                  <a:srgbClr val="FFFFFF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2.041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43" name="Text Placeholder 20">
            <a:extLst>
              <a:ext uri="{FF2B5EF4-FFF2-40B4-BE49-F238E27FC236}">
                <a16:creationId xmlns:a16="http://schemas.microsoft.com/office/drawing/2014/main" id="{D2CAF2F3-7628-423F-89ED-71EFAD02F33B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2733675" y="5461000"/>
            <a:ext cx="223838" cy="109538"/>
          </a:xfrm>
          <a:prstGeom prst="rect">
            <a:avLst/>
          </a:prstGeom>
          <a:solidFill>
            <a:srgbClr val="B51B4F"/>
          </a:solidFill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C8659653-21A0-4195-8347-E5F5C6C3D859}" type="datetime'''''''''''''''''''''''''''''''''''43''''''''8'''''''''''''''">
              <a:rPr lang="en-US" altLang="en-US" sz="800" smtClean="0">
                <a:solidFill>
                  <a:srgbClr val="FFFFFF"/>
                </a:solidFill>
                <a:effectLst/>
              </a:rPr>
              <a:pPr/>
              <a:t>438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+mn-cs"/>
            </a:endParaRPr>
          </a:p>
        </p:txBody>
      </p:sp>
      <p:sp>
        <p:nvSpPr>
          <p:cNvPr id="17" name="Text Placeholder 20">
            <a:extLst>
              <a:ext uri="{FF2B5EF4-FFF2-40B4-BE49-F238E27FC236}">
                <a16:creationId xmlns:a16="http://schemas.microsoft.com/office/drawing/2014/main" id="{307386A9-66B2-4E67-93F8-5FF88BE4A317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795338" y="2192338"/>
            <a:ext cx="1858963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A51677C1-1A53-4FC0-AC13-4FF42111B610}" type="datetime'C''''''''''OSM''ETICS,'''''' PERFUME, ''PHA''R''MACE''UTICS'''">
              <a:rPr lang="en-US" altLang="en-US" sz="700" smtClean="0">
                <a:solidFill>
                  <a:srgbClr val="000000"/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COSMETICS, PERFUME, PHARMACEUTIC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4D6E6F82-E5C0-4325-8A61-23B1854EAFB0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720850" y="2397125"/>
            <a:ext cx="933450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D8BA3934-106B-43F2-9B49-4E5A68E6A4B6}" type="datetime'HY''G''I''''EN''''E'' P''''''R''O''''''''DUC''''TS'">
              <a:rPr lang="en-US" altLang="en-US" sz="700" smtClean="0">
                <a:solidFill>
                  <a:srgbClr val="000000"/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HYGIENE PRODUCT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EC48DA1E-B76D-4623-B9FA-E867640852A0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3054350" y="2390775"/>
            <a:ext cx="32543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AF1B4CD2-6E59-4499-BA34-7627B15C985B}" type="datetime'''2''''''''.''''''''''''1''''''''''''''''2''''''''''''''''7'">
              <a:rPr lang="en-US" altLang="en-US" sz="800" smtClean="0">
                <a:solidFill>
                  <a:srgbClr val="FFFFFF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2.127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8" name="Text Placeholder 20">
            <a:extLst>
              <a:ext uri="{FF2B5EF4-FFF2-40B4-BE49-F238E27FC236}">
                <a16:creationId xmlns:a16="http://schemas.microsoft.com/office/drawing/2014/main" id="{D547F7E9-D5F4-4C16-B275-38E0BB5D876C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738313" y="2601913"/>
            <a:ext cx="915988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F67A74E2-9D66-40B5-8701-AD8B682855AD}" type="datetime'PAST''''RY ''''A''ND'''''''''' CAND''''''''''''''''''Y'">
              <a:rPr lang="en-US" altLang="en-US" sz="700" smtClean="0">
                <a:solidFill>
                  <a:srgbClr val="000000"/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PASTRY AND CANDY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23BD2A72-DAE2-45B1-8B1A-8DE49F1CEF13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943225" y="2800350"/>
            <a:ext cx="32543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D1E9B2A5-9DA2-46B0-B3E8-CA24DF552577}" type="datetime'''''1''''''''''''''.''6''''''''2''''''''''''''''''3'''''''''''">
              <a:rPr lang="en-US" altLang="en-US" sz="800" smtClean="0">
                <a:solidFill>
                  <a:srgbClr val="FFFFFF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.623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29" name="Text Placeholder 20">
            <a:extLst>
              <a:ext uri="{FF2B5EF4-FFF2-40B4-BE49-F238E27FC236}">
                <a16:creationId xmlns:a16="http://schemas.microsoft.com/office/drawing/2014/main" id="{BF6B8E01-E3ED-43FA-920C-5A16490ADD00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397000" y="2806700"/>
            <a:ext cx="1257300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5763F44D-5307-4525-B305-EDD4E737938B}" type="datetime'''''EGGS,'''''''''' ''CHEESE'''''''''''', ''SA''USAG''E''S'' '">
              <a:rPr lang="en-US" altLang="en-US" sz="700" smtClean="0">
                <a:solidFill>
                  <a:srgbClr val="000000"/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EGGS, CHEESE, SAUSAGES 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40" name="Text Placeholder 20">
            <a:extLst>
              <a:ext uri="{FF2B5EF4-FFF2-40B4-BE49-F238E27FC236}">
                <a16:creationId xmlns:a16="http://schemas.microsoft.com/office/drawing/2014/main" id="{82680E4A-5A82-4149-82E2-F7DA35B1DE34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128838" y="4852988"/>
            <a:ext cx="525463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9718D7FF-F55F-4045-BF8E-B72A0BDDDBEA}" type="datetime'''''''B''''''''''''A''B''''''''Y ''''''''FOO''''D'''''''''''">
              <a:rPr lang="en-US" altLang="en-US" sz="700" smtClean="0">
                <a:solidFill>
                  <a:srgbClr val="000000"/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BABY FOOD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6" name="Text Placeholder 20">
            <a:extLst>
              <a:ext uri="{FF2B5EF4-FFF2-40B4-BE49-F238E27FC236}">
                <a16:creationId xmlns:a16="http://schemas.microsoft.com/office/drawing/2014/main" id="{A29264D0-D50B-423B-A068-166EF820273D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2028825" y="3421063"/>
            <a:ext cx="625475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6A126D56-AC86-469A-9F54-DCEBA83F2B5A}" type="datetime'''''S''''''''''OFT'' ''D''''''''R''IN''''''''K''S'''''''">
              <a:rPr lang="en-US" altLang="en-US" sz="700" smtClean="0">
                <a:solidFill>
                  <a:srgbClr val="000000"/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SOFT DRINK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0" name="Text Placeholder 20">
            <a:extLst>
              <a:ext uri="{FF2B5EF4-FFF2-40B4-BE49-F238E27FC236}">
                <a16:creationId xmlns:a16="http://schemas.microsoft.com/office/drawing/2014/main" id="{CE2641CE-DC45-4095-824F-10D77F58E4EB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882900" y="3005138"/>
            <a:ext cx="32543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E7152EC7-0144-44BB-A615-E84F1F303D86}" type="datetime'''1.''''''''''''3''''''4''''''''''''''''''''4'''''">
              <a:rPr lang="en-US" altLang="en-US" sz="800" smtClean="0">
                <a:solidFill>
                  <a:srgbClr val="FFFFFF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.344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5769C131-6D9F-4E13-AA5D-96547B4C95DC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941513" y="6081713"/>
            <a:ext cx="712788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CE715B63-673E-4961-8037-996F70539125}" type="datetime'''''''''E''''L''''''''''''''''ITE'' ''''''ALC''O''''''HOL'''">
              <a:rPr lang="en-US" altLang="en-US" sz="700" smtClean="0">
                <a:solidFill>
                  <a:srgbClr val="000000"/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ELITE ALCOHOL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8B953693-18AA-459D-8322-F4E20FC97F43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874838" y="1987550"/>
            <a:ext cx="779463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B527A11F-3ED8-4B52-8373-0FE4181704F7}" type="datetime'PAN''''''T''RY ''STAP''L''''''''''''''''''''''''''ES'''''''">
              <a:rPr lang="en-US" altLang="en-US" sz="700" smtClean="0">
                <a:solidFill>
                  <a:srgbClr val="000000"/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PANTRY STAPLE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2" name="Text Placeholder 20">
            <a:extLst>
              <a:ext uri="{FF2B5EF4-FFF2-40B4-BE49-F238E27FC236}">
                <a16:creationId xmlns:a16="http://schemas.microsoft.com/office/drawing/2014/main" id="{D3C957C3-1996-4F9C-A4FF-41ABC4510F0B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2860675" y="3209925"/>
            <a:ext cx="32543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343C1E28-F231-45EA-96DA-20023A45E2E8}" type="datetime'''''1''''''''''.''''''''2''4''8'''''''''">
              <a:rPr lang="en-US" altLang="en-US" sz="800" smtClean="0">
                <a:solidFill>
                  <a:srgbClr val="FFFFFF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.248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8D644AF4-40AD-484B-BE25-A9BFBD24824F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3168650" y="1981200"/>
            <a:ext cx="32543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1CCC8D0E-53E2-48F9-BB34-9C53AA273BCC}" type="datetime'''2''''''''.''''''''''''6''''4''''5'''''''''''">
              <a:rPr lang="en-US" altLang="en-US" sz="800" smtClean="0">
                <a:solidFill>
                  <a:srgbClr val="FFFFFF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2.645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5" name="Text Placeholder 20">
            <a:extLst>
              <a:ext uri="{FF2B5EF4-FFF2-40B4-BE49-F238E27FC236}">
                <a16:creationId xmlns:a16="http://schemas.microsoft.com/office/drawing/2014/main" id="{3729060C-6A44-4A05-8A34-CBC95DE7521E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2808288" y="3414713"/>
            <a:ext cx="32543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942E679D-DF83-4577-BF45-A76AE2384D07}" type="datetime'''1''''''''''''''''''.''0''''''''''''''''''''''0''3'''''''''">
              <a:rPr lang="en-US" altLang="en-US" sz="800" smtClean="0">
                <a:solidFill>
                  <a:srgbClr val="FFFFFF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.003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EBDAA893-9CAF-48F6-AECF-D2B35E8CE3A9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812925" y="4443413"/>
            <a:ext cx="841375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79FB2805-A45A-4555-BFB5-AFBCC1B4D7CB}" type="datetime'S''T''RO''''N''G'''''''''' A''''''''''''''''LC''O''HO''''L'">
              <a:rPr lang="en-US" altLang="en-US" sz="700" smtClean="0">
                <a:solidFill>
                  <a:srgbClr val="000000"/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STRONG ALCOHOL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7" name="Text Placeholder 20">
            <a:extLst>
              <a:ext uri="{FF2B5EF4-FFF2-40B4-BE49-F238E27FC236}">
                <a16:creationId xmlns:a16="http://schemas.microsoft.com/office/drawing/2014/main" id="{0689A638-6640-442C-82EF-74E8391ABF96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1906588" y="3625850"/>
            <a:ext cx="747713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A615C4B5-9AE2-4532-9480-2D5D654D083A}" type="datetime'C''A''''''''''''''''NN''''E''''''''''D G''''OOD''''S'''''''''">
              <a:rPr lang="en-US" altLang="en-US" sz="700" smtClean="0">
                <a:solidFill>
                  <a:srgbClr val="000000"/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CANNED GOOD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20" name="Text Placeholder 20">
            <a:extLst>
              <a:ext uri="{FF2B5EF4-FFF2-40B4-BE49-F238E27FC236}">
                <a16:creationId xmlns:a16="http://schemas.microsoft.com/office/drawing/2014/main" id="{5561E57F-1FB3-4A22-85DD-46B513164C2F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687513" y="3830638"/>
            <a:ext cx="966788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EF819900-152D-4ECC-A288-AA15C2FAECC3}" type="datetime'T''''''EA'''''', ''CO''''''''''FFEE, ''''C''OC''''OA'''">
              <a:rPr lang="en-US" altLang="en-US" sz="700" smtClean="0">
                <a:solidFill>
                  <a:srgbClr val="000000"/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TEA, COFFEE, COCOA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8" name="Text Placeholder 20">
            <a:extLst>
              <a:ext uri="{FF2B5EF4-FFF2-40B4-BE49-F238E27FC236}">
                <a16:creationId xmlns:a16="http://schemas.microsoft.com/office/drawing/2014/main" id="{5CBB491D-185C-4DD0-84C1-2D6443CFA821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760538" y="4035425"/>
            <a:ext cx="893763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550B0175-631C-4303-85C5-277CE1F101AC}" type="datetime'''''''FR''OZ''E''''''''N'''' ''PR''''O''D''''UC''TS'">
              <a:rPr lang="en-US" altLang="en-US" sz="700" smtClean="0">
                <a:solidFill>
                  <a:srgbClr val="000000"/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FROZEN PRODUCT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9" name="Text Placeholder 20">
            <a:extLst>
              <a:ext uri="{FF2B5EF4-FFF2-40B4-BE49-F238E27FC236}">
                <a16:creationId xmlns:a16="http://schemas.microsoft.com/office/drawing/2014/main" id="{0695553A-C2D2-40FE-AC5B-8924B7E17730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2406650" y="4238625"/>
            <a:ext cx="247650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796D79D7-080D-413B-A132-B2B1AA0F7DDE}" type="datetime'''''''''''''''WI''''''''''''''''''''N''''''E'''">
              <a:rPr lang="en-US" altLang="en-US" sz="700" smtClean="0">
                <a:solidFill>
                  <a:srgbClr val="000000"/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WINE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38BB4F56-8CD4-4C66-B520-941100C289CF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036638" y="4648200"/>
            <a:ext cx="1617663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F9C76348-5EE4-41D0-8EFB-8FB0ABE53F00}" type="datetime'BE''E''''R AND ''LIGH''''T'''' ALCOH''O''L DR''''I''NKS'''''''">
              <a:rPr lang="en-US" altLang="en-US" sz="700" smtClean="0">
                <a:solidFill>
                  <a:srgbClr val="000000"/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BEER AND LIGHT ALCOHOL DRINK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41" name="Text Placeholder 20">
            <a:extLst>
              <a:ext uri="{FF2B5EF4-FFF2-40B4-BE49-F238E27FC236}">
                <a16:creationId xmlns:a16="http://schemas.microsoft.com/office/drawing/2014/main" id="{51C83554-0DE3-469E-9035-202F6A31F201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1714500" y="5057775"/>
            <a:ext cx="939800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0080CEC4-F305-4147-9D6C-D908E40BC9A8}" type="datetime'''H''OU''SE''H''''OL''D'''''''' ''''''G''''''''OO''D''S'''''''">
              <a:rPr lang="en-US" altLang="en-US" sz="700" smtClean="0">
                <a:solidFill>
                  <a:srgbClr val="000000"/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HOUSEHOLD GOOD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42" name="Text Placeholder 20">
            <a:extLst>
              <a:ext uri="{FF2B5EF4-FFF2-40B4-BE49-F238E27FC236}">
                <a16:creationId xmlns:a16="http://schemas.microsoft.com/office/drawing/2014/main" id="{521460AF-0A17-42AC-A0C1-0038355CA4EC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1846263" y="5262563"/>
            <a:ext cx="808038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29B096AB-3AAD-4E83-9DF4-3CA27A0E4D2A}" type="datetime'''G''''''''O''''O''DS'' F''''''OR'''''''''' PET''''''S'">
              <a:rPr lang="en-US" altLang="en-US" sz="700" smtClean="0">
                <a:solidFill>
                  <a:srgbClr val="000000"/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GOODS FOR PET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44" name="Text Placeholder 20">
            <a:extLst>
              <a:ext uri="{FF2B5EF4-FFF2-40B4-BE49-F238E27FC236}">
                <a16:creationId xmlns:a16="http://schemas.microsoft.com/office/drawing/2014/main" id="{E0799AA3-30DB-49DB-9576-07E3FE680186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1482725" y="5467350"/>
            <a:ext cx="1171575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426D7203-3080-457D-9567-8F7605FBE43F}" type="datetime'VE''''''G''''''ETABL''ES ''AND F''R''''''U''''''''''''ITS'''">
              <a:rPr lang="en-US" altLang="en-US" sz="700" smtClean="0">
                <a:solidFill>
                  <a:srgbClr val="000000"/>
                </a:solidFill>
              </a:rPr>
              <a:pPr/>
              <a:t>VEGETABLES AND FRUIT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3" name="Text Placeholder 20">
            <a:extLst>
              <a:ext uri="{FF2B5EF4-FFF2-40B4-BE49-F238E27FC236}">
                <a16:creationId xmlns:a16="http://schemas.microsoft.com/office/drawing/2014/main" id="{E36215EF-6268-442B-8461-8EAA63E43238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1522413" y="3216275"/>
            <a:ext cx="1131888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ADEF831B-BA6F-4E2A-85F7-22F73A4F7976}" type="datetime'HO''''USEH''''OLD'''''' CHE''M''''I''''''''C''''''A''''L''''S'">
              <a:rPr lang="en-US" altLang="en-US" sz="700" smtClean="0">
                <a:solidFill>
                  <a:srgbClr val="000000"/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HOUSEHOLD CHEMICAL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45" name="Text Placeholder 20">
            <a:extLst>
              <a:ext uri="{FF2B5EF4-FFF2-40B4-BE49-F238E27FC236}">
                <a16:creationId xmlns:a16="http://schemas.microsoft.com/office/drawing/2014/main" id="{EB1CC3DD-C831-4AA2-9D56-ABDF0EF2C2CB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1865313" y="5672138"/>
            <a:ext cx="788988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3A65EAA4-D10E-42F5-81A4-7525052C9BCA}" type="datetime'B''''''R''E''''''A''D &amp;'''' ''''''''''BAKE''RY'''''''''''''''">
              <a:rPr lang="en-US" altLang="en-US" sz="700" smtClean="0">
                <a:solidFill>
                  <a:srgbClr val="000000"/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BREAD &amp; BAKERY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46" name="Text Placeholder 20">
            <a:extLst>
              <a:ext uri="{FF2B5EF4-FFF2-40B4-BE49-F238E27FC236}">
                <a16:creationId xmlns:a16="http://schemas.microsoft.com/office/drawing/2014/main" id="{D74D4041-BA38-4437-84DE-3961E32EDA9D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1685925" y="5876925"/>
            <a:ext cx="968375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576F02A0-8085-4E5F-84AE-6555B6F7C734}" type="datetime'''''T''OBA''C''CO ''P''''''''R''''O''D''''''UC''''''''''T''S'">
              <a:rPr lang="en-US" altLang="en-US" sz="700" smtClean="0">
                <a:solidFill>
                  <a:srgbClr val="000000"/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TOBACCO PRODUCT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4CB7D841-7349-4BDA-AA27-DE691A3B173F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1843088" y="3011488"/>
            <a:ext cx="811213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7DE2773A-3613-403F-9666-01F75F79A09D}" type="datetime'''''DAI''R''''''''''''Y ''P''''''''R''''''''O''D''''UCTS'''''">
              <a:rPr lang="en-US" altLang="en-US" sz="700" smtClean="0">
                <a:solidFill>
                  <a:srgbClr val="000000"/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DAIRY PRODUCT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graphicFrame>
        <p:nvGraphicFramePr>
          <p:cNvPr id="149" name="Chart 148">
            <a:extLst>
              <a:ext uri="{FF2B5EF4-FFF2-40B4-BE49-F238E27FC236}">
                <a16:creationId xmlns:a16="http://schemas.microsoft.com/office/drawing/2014/main" id="{EA55C77A-AAB9-4E8E-9C42-11608FC2A736}"/>
              </a:ext>
            </a:extLst>
          </p:cNvPr>
          <p:cNvGraphicFramePr/>
          <p:nvPr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3775696571"/>
              </p:ext>
            </p:extLst>
          </p:nvPr>
        </p:nvGraphicFramePr>
        <p:xfrm>
          <a:off x="4105275" y="1862138"/>
          <a:ext cx="1855788" cy="4464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1"/>
          </a:graphicData>
        </a:graphic>
      </p:graphicFrame>
      <p:sp>
        <p:nvSpPr>
          <p:cNvPr id="51" name="Text Placeholder 20">
            <a:extLst>
              <a:ext uri="{FF2B5EF4-FFF2-40B4-BE49-F238E27FC236}">
                <a16:creationId xmlns:a16="http://schemas.microsoft.com/office/drawing/2014/main" id="{350941CA-9D26-4E2E-B1A1-6346218B702D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4586288" y="1992313"/>
            <a:ext cx="32543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CBC4762C-F082-4373-B13E-198C93239CE8}" type="datetime'''3''''''''''''''.''20''''''''''''''''''''''''''''1'''">
              <a:rPr lang="en-US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3.201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53" name="Text Placeholder 20">
            <a:extLst>
              <a:ext uri="{FF2B5EF4-FFF2-40B4-BE49-F238E27FC236}">
                <a16:creationId xmlns:a16="http://schemas.microsoft.com/office/drawing/2014/main" id="{F1C63C88-B485-45A0-9C6F-75220E2FDB20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4846638" y="2197100"/>
            <a:ext cx="32543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E06888D5-CBB3-4CC4-A01F-AB09A49318FD}" type="datetime'''''4''''''''''''''''.''''''6''''''''''''''''''85'''''''''''''">
              <a:rPr lang="en-US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4.685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55" name="Text Placeholder 20">
            <a:extLst>
              <a:ext uri="{FF2B5EF4-FFF2-40B4-BE49-F238E27FC236}">
                <a16:creationId xmlns:a16="http://schemas.microsoft.com/office/drawing/2014/main" id="{4E64F694-54E5-4ADD-9B9E-A6B511C9E9F7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4608513" y="2401888"/>
            <a:ext cx="32543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743F8C9F-E79A-419B-A23A-D43A397B0278}" type="datetime'3''''''''''''''''''''.3''''''2''''''''''''''''''2'''''''">
              <a:rPr lang="en-US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3.322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50" name="Text Placeholder 20">
            <a:extLst>
              <a:ext uri="{FF2B5EF4-FFF2-40B4-BE49-F238E27FC236}">
                <a16:creationId xmlns:a16="http://schemas.microsoft.com/office/drawing/2014/main" id="{F3E6E081-AE6A-497F-A545-FD6175A715B1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4291013" y="3016250"/>
            <a:ext cx="32543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8B579EC8-DAC3-446F-90AC-3642FD371CA8}" type="datetime'1''.''''''''''''5''''''''''''''''''1''''''1'''">
              <a:rPr lang="en-US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.511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60" name="Text Placeholder 20">
            <a:extLst>
              <a:ext uri="{FF2B5EF4-FFF2-40B4-BE49-F238E27FC236}">
                <a16:creationId xmlns:a16="http://schemas.microsoft.com/office/drawing/2014/main" id="{23306223-9F48-47A2-9171-F511E5B2C7F8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4213225" y="5472113"/>
            <a:ext cx="32543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1CCF8705-8953-4320-BE4F-8E9E9B7D4EB9}" type="datetime'''1''''.''''''''''''''''''''0''''''''''''''''''7''''3'''''''">
              <a:rPr lang="en-US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.073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52" name="Text Placeholder 20">
            <a:extLst>
              <a:ext uri="{FF2B5EF4-FFF2-40B4-BE49-F238E27FC236}">
                <a16:creationId xmlns:a16="http://schemas.microsoft.com/office/drawing/2014/main" id="{E517AE01-AA16-48C2-BA8A-99774AEE0BFB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4348163" y="2811463"/>
            <a:ext cx="32543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DFC73E87-12D3-4147-91A2-85055ACC2F70}" type="datetime'''''''1''''''''.''''''''''''''''8''3''''''''''''''''''9'''">
              <a:rPr lang="en-US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.839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54" name="Text Placeholder 20">
            <a:extLst>
              <a:ext uri="{FF2B5EF4-FFF2-40B4-BE49-F238E27FC236}">
                <a16:creationId xmlns:a16="http://schemas.microsoft.com/office/drawing/2014/main" id="{A58B01D9-B43C-4B05-B1B7-DC827537877C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4608513" y="2606675"/>
            <a:ext cx="32543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BB1B1E3B-37BB-40AE-8CCD-0DA35DFA0F09}" type="datetime'''''''''''''''''''3''''.3''''''''''2''''''''''6'">
              <a:rPr lang="en-US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3.326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58" name="Text Placeholder 20">
            <a:extLst>
              <a:ext uri="{FF2B5EF4-FFF2-40B4-BE49-F238E27FC236}">
                <a16:creationId xmlns:a16="http://schemas.microsoft.com/office/drawing/2014/main" id="{6AFF9900-C97A-41B7-8773-ECEAD96C16A7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4259263" y="4040188"/>
            <a:ext cx="32543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7B445508-7455-4074-9AD2-25BC8E644BCA}" type="datetime'''''''''''''''''''''''1.''3''''''''''3''1'">
              <a:rPr lang="en-US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.331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48" name="Text Placeholder 20">
            <a:extLst>
              <a:ext uri="{FF2B5EF4-FFF2-40B4-BE49-F238E27FC236}">
                <a16:creationId xmlns:a16="http://schemas.microsoft.com/office/drawing/2014/main" id="{74640A94-5E56-439E-BE35-4CACDB133C5D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4262438" y="3630613"/>
            <a:ext cx="32543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ADD5A6D7-9173-48A3-86A7-FEE45C648FC8}" type="datetime'''''1''''''''''''''''.3''''''''''''''''''''''''''55'''">
              <a:rPr lang="en-US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.355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56" name="Text Placeholder 20">
            <a:extLst>
              <a:ext uri="{FF2B5EF4-FFF2-40B4-BE49-F238E27FC236}">
                <a16:creationId xmlns:a16="http://schemas.microsoft.com/office/drawing/2014/main" id="{8778507D-8387-4A44-9119-1E440BB484C7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4364038" y="3221038"/>
            <a:ext cx="32543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1A8443FA-54F7-4FA5-9505-EBEADE200272}" type="datetime'1''.''''''''''9''''2''''''''''''''''''''''''''''''9'''''''''''">
              <a:rPr lang="en-US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.929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57" name="Text Placeholder 20">
            <a:extLst>
              <a:ext uri="{FF2B5EF4-FFF2-40B4-BE49-F238E27FC236}">
                <a16:creationId xmlns:a16="http://schemas.microsoft.com/office/drawing/2014/main" id="{FF24A6B5-2041-4854-B0B7-711E0B0369B2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4302125" y="3835400"/>
            <a:ext cx="32543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65A2EE47-5158-41F8-AD0E-12066D0DF9EE}" type="datetime'''1''''''''''''.''''''''''''''''''5''''''''''''74'''''''''''">
              <a:rPr lang="en-US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.574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49" name="Text Placeholder 20">
            <a:extLst>
              <a:ext uri="{FF2B5EF4-FFF2-40B4-BE49-F238E27FC236}">
                <a16:creationId xmlns:a16="http://schemas.microsoft.com/office/drawing/2014/main" id="{F664919B-13BD-47BC-8787-FDFBC7CF4F5E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4275138" y="4857750"/>
            <a:ext cx="32543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8D69E7A5-BA2C-4933-9CF3-A12A6144E1AD}" type="datetime'''''''''''''''1.''4''''''''''2''''''''4'''''''''">
              <a:rPr lang="en-US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.424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59" name="Text Placeholder 20">
            <a:extLst>
              <a:ext uri="{FF2B5EF4-FFF2-40B4-BE49-F238E27FC236}">
                <a16:creationId xmlns:a16="http://schemas.microsoft.com/office/drawing/2014/main" id="{B4210851-9037-49E7-B8FA-0D785707C72E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4870450" y="5267325"/>
            <a:ext cx="32543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77BDB8AA-70F4-4E1B-ADC9-015368988D06}" type="datetime'''''''''''''''4''''''''''.''8''''''2''''''''''''''1'''''''''">
              <a:rPr lang="en-US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4.821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61" name="Text Placeholder 20">
            <a:extLst>
              <a:ext uri="{FF2B5EF4-FFF2-40B4-BE49-F238E27FC236}">
                <a16:creationId xmlns:a16="http://schemas.microsoft.com/office/drawing/2014/main" id="{EA41E76E-4546-4928-8371-5FD41B918175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4111625" y="5881688"/>
            <a:ext cx="158750" cy="109538"/>
          </a:xfrm>
          <a:prstGeom prst="rect">
            <a:avLst/>
          </a:prstGeom>
          <a:solidFill>
            <a:srgbClr val="969696"/>
          </a:solidFill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C463BAF8-6BA3-4053-A7C0-6B168F05A0C0}" type="datetime'''2''''''3'''''''''''''''''">
              <a:rPr lang="en-US" altLang="en-US" sz="800" smtClean="0">
                <a:solidFill>
                  <a:srgbClr val="000000"/>
                </a:solidFill>
                <a:effectLst/>
              </a:rPr>
              <a:pPr/>
              <a:t>23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+mn-cs"/>
            </a:endParaRPr>
          </a:p>
        </p:txBody>
      </p:sp>
      <p:sp>
        <p:nvSpPr>
          <p:cNvPr id="62" name="Text Placeholder 20">
            <a:extLst>
              <a:ext uri="{FF2B5EF4-FFF2-40B4-BE49-F238E27FC236}">
                <a16:creationId xmlns:a16="http://schemas.microsoft.com/office/drawing/2014/main" id="{64DE972F-03BF-44C8-94C3-D1ED8F60D049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4114800" y="6086475"/>
            <a:ext cx="158750" cy="109538"/>
          </a:xfrm>
          <a:prstGeom prst="rect">
            <a:avLst/>
          </a:prstGeom>
          <a:solidFill>
            <a:srgbClr val="969696"/>
          </a:solidFill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19E87FA8-9E9D-44A8-A171-F222D8FF6B39}" type="datetime'''''''''4''''''''''''''''''''''''''''''''''''''''3'''''''''">
              <a:rPr lang="en-US" altLang="en-US" sz="800" smtClean="0">
                <a:solidFill>
                  <a:srgbClr val="000000"/>
                </a:solidFill>
                <a:effectLst/>
              </a:rPr>
              <a:pPr/>
              <a:t>43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+mn-cs"/>
            </a:endParaRPr>
          </a:p>
        </p:txBody>
      </p:sp>
      <p:graphicFrame>
        <p:nvGraphicFramePr>
          <p:cNvPr id="139" name="Chart 138">
            <a:extLst>
              <a:ext uri="{FF2B5EF4-FFF2-40B4-BE49-F238E27FC236}">
                <a16:creationId xmlns:a16="http://schemas.microsoft.com/office/drawing/2014/main" id="{7A6CFA1F-538E-4DDD-8ACD-9CD8D09A6288}"/>
              </a:ext>
            </a:extLst>
          </p:cNvPr>
          <p:cNvGraphicFramePr/>
          <p:nvPr>
            <p:custDataLst>
              <p:tags r:id="rId52"/>
            </p:custDataLst>
            <p:extLst>
              <p:ext uri="{D42A27DB-BD31-4B8C-83A1-F6EECF244321}">
                <p14:modId xmlns:p14="http://schemas.microsoft.com/office/powerpoint/2010/main" val="447362895"/>
              </p:ext>
            </p:extLst>
          </p:nvPr>
        </p:nvGraphicFramePr>
        <p:xfrm>
          <a:off x="5949950" y="1851025"/>
          <a:ext cx="1598613" cy="4464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2"/>
          </a:graphicData>
        </a:graphic>
      </p:graphicFrame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1AB4B758-CB7A-4EF9-A7EC-E3E7BD39315F}"/>
              </a:ext>
            </a:extLst>
          </p:cNvPr>
          <p:cNvCxnSpPr/>
          <p:nvPr>
            <p:custDataLst>
              <p:tags r:id="rId53"/>
            </p:custDataLst>
          </p:nvPr>
        </p:nvCxnSpPr>
        <p:spPr bwMode="auto">
          <a:xfrm flipH="1">
            <a:off x="6099175" y="5719763"/>
            <a:ext cx="920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4D21BC19-21D0-465F-8E85-3887513A6435}"/>
              </a:ext>
            </a:extLst>
          </p:cNvPr>
          <p:cNvCxnSpPr/>
          <p:nvPr>
            <p:custDataLst>
              <p:tags r:id="rId54"/>
            </p:custDataLst>
          </p:nvPr>
        </p:nvCxnSpPr>
        <p:spPr bwMode="auto">
          <a:xfrm flipH="1">
            <a:off x="6080125" y="5924550"/>
            <a:ext cx="7143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63AF07E2-CB55-4103-A237-B9F5DBE14320}"/>
              </a:ext>
            </a:extLst>
          </p:cNvPr>
          <p:cNvCxnSpPr/>
          <p:nvPr>
            <p:custDataLst>
              <p:tags r:id="rId55"/>
            </p:custDataLst>
          </p:nvPr>
        </p:nvCxnSpPr>
        <p:spPr bwMode="auto">
          <a:xfrm flipH="1">
            <a:off x="6032500" y="6129338"/>
            <a:ext cx="254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7" name="Text Placeholder 20">
            <a:extLst>
              <a:ext uri="{FF2B5EF4-FFF2-40B4-BE49-F238E27FC236}">
                <a16:creationId xmlns:a16="http://schemas.microsoft.com/office/drawing/2014/main" id="{482709F8-1906-4DB4-9C24-8CC9472691D1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6169025" y="4232275"/>
            <a:ext cx="32543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B0E6283D-E5F2-4586-A43D-E2C4CD98E968}" type="datetime'''''''''''''''''''''''1''''.''3''5''3'''''''''''''''''''''''''">
              <a:rPr lang="en-US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.353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74" name="Text Placeholder 20">
            <a:extLst>
              <a:ext uri="{FF2B5EF4-FFF2-40B4-BE49-F238E27FC236}">
                <a16:creationId xmlns:a16="http://schemas.microsoft.com/office/drawing/2014/main" id="{D01F876A-213A-495C-BAF1-6BEA3C8E1C7A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6119813" y="3619500"/>
            <a:ext cx="32543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8DF2753D-D045-4435-AB64-4CCD5EE0BF1E}" type="datetime'''''''1''''''''''''''''.''''''''''''''1''''''2''''''''''9'''''">
              <a:rPr lang="en-US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.129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69" name="Text Placeholder 20">
            <a:extLst>
              <a:ext uri="{FF2B5EF4-FFF2-40B4-BE49-F238E27FC236}">
                <a16:creationId xmlns:a16="http://schemas.microsoft.com/office/drawing/2014/main" id="{E1443EAA-AD4C-4A63-AEE7-F580EEEB05DC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6467475" y="2390775"/>
            <a:ext cx="32543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CBBD7CFA-0553-4B4E-9A5D-CC62273CEBA9}" type="datetime'''''''''''''''''''''2''.''''''''''''7''''''''''0''''''1'''''''">
              <a:rPr lang="en-US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2.701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72" name="Text Placeholder 20">
            <a:extLst>
              <a:ext uri="{FF2B5EF4-FFF2-40B4-BE49-F238E27FC236}">
                <a16:creationId xmlns:a16="http://schemas.microsoft.com/office/drawing/2014/main" id="{EE6051C3-B150-4AF3-A992-663F0DF0200B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6392863" y="2185988"/>
            <a:ext cx="32543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A3CD02BB-18AF-431A-9433-EC859FAF526B}" type="datetime'''2''''.3''''''''''''''''6''''''''''''''''''''''''6'''''''''">
              <a:rPr lang="en-US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2.366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79" name="Text Placeholder 20">
            <a:extLst>
              <a:ext uri="{FF2B5EF4-FFF2-40B4-BE49-F238E27FC236}">
                <a16:creationId xmlns:a16="http://schemas.microsoft.com/office/drawing/2014/main" id="{FA18F4A0-E61D-4D67-B329-10828C8B2824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6057900" y="6075363"/>
            <a:ext cx="9366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B9E1F4C2-2BB9-4A2D-89EB-686C90103D00}" type="datetime'''''''''''''''0'''''''''''''">
              <a:rPr lang="en-US" altLang="en-US" sz="800" smtClean="0">
                <a:solidFill>
                  <a:srgbClr val="000000"/>
                </a:solidFill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0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68" name="Text Placeholder 20">
            <a:extLst>
              <a:ext uri="{FF2B5EF4-FFF2-40B4-BE49-F238E27FC236}">
                <a16:creationId xmlns:a16="http://schemas.microsoft.com/office/drawing/2014/main" id="{7C9F23B9-70F6-465E-ABCA-19CAA0E3323A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6586538" y="1981200"/>
            <a:ext cx="32543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6FAEF080-0AF7-410E-8852-2A258759E0B0}" type="datetime'''''''3''''''''''''''.2''4''''''''''''''''''''''''''''''5'''">
              <a:rPr lang="en-US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3.245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67" name="Text Placeholder 20">
            <a:extLst>
              <a:ext uri="{FF2B5EF4-FFF2-40B4-BE49-F238E27FC236}">
                <a16:creationId xmlns:a16="http://schemas.microsoft.com/office/drawing/2014/main" id="{DD46C3F3-E1C2-48E9-9044-A930220A18D2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gray">
          <a:xfrm>
            <a:off x="6430963" y="2595563"/>
            <a:ext cx="32543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43FA0C2C-FEED-4909-824E-921C56A396BF}" type="datetime'2.''''''''''''5''''''''''''''''''''''4''''''''0'''">
              <a:rPr lang="en-US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2.540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78" name="Text Placeholder 20">
            <a:extLst>
              <a:ext uri="{FF2B5EF4-FFF2-40B4-BE49-F238E27FC236}">
                <a16:creationId xmlns:a16="http://schemas.microsoft.com/office/drawing/2014/main" id="{DFC2AAD3-1FFC-4553-A208-E03A0BBE53CF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gray">
          <a:xfrm>
            <a:off x="6232525" y="5256213"/>
            <a:ext cx="32543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024C4A35-A9F2-47E7-B5CE-DF468E11D749}" type="datetime'''1''''''''''''''''''''.''6''''''''''''''''''''''''''4''0'">
              <a:rPr lang="en-US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.640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70" name="Text Placeholder 20">
            <a:extLst>
              <a:ext uri="{FF2B5EF4-FFF2-40B4-BE49-F238E27FC236}">
                <a16:creationId xmlns:a16="http://schemas.microsoft.com/office/drawing/2014/main" id="{A01B38A4-EABD-4DE3-9A3F-8B79201FAB26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6419850" y="2800350"/>
            <a:ext cx="32543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1208307C-C037-4E9D-9EA2-B6040024E559}" type="datetime'''''''''2''''''''''.''''''''''''''''''''''4''''''91'''''''">
              <a:rPr lang="en-US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2.491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71" name="Text Placeholder 20">
            <a:extLst>
              <a:ext uri="{FF2B5EF4-FFF2-40B4-BE49-F238E27FC236}">
                <a16:creationId xmlns:a16="http://schemas.microsoft.com/office/drawing/2014/main" id="{6A78D3F2-EFB0-44A4-A9C3-26E8E50F33A0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gray">
          <a:xfrm>
            <a:off x="6192838" y="3209925"/>
            <a:ext cx="32543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73607404-CD89-42BF-B789-77A4BFDF9822}" type="datetime'''''''''''''1''''''''''''''''''''''''''''.''''''4''''''64'">
              <a:rPr lang="en-US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.464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73" name="Text Placeholder 20">
            <a:extLst>
              <a:ext uri="{FF2B5EF4-FFF2-40B4-BE49-F238E27FC236}">
                <a16:creationId xmlns:a16="http://schemas.microsoft.com/office/drawing/2014/main" id="{44BE5A93-0635-4305-9C6F-A52B975EC9A2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gray">
          <a:xfrm>
            <a:off x="6296025" y="3005138"/>
            <a:ext cx="32543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B163A7AA-0D07-453B-8127-427F780CC1BE}" type="datetime'''''''''''''''''''''''''''1''''''''.''''''9''''''''2''7'''''">
              <a:rPr lang="en-US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.927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75" name="Text Placeholder 20">
            <a:extLst>
              <a:ext uri="{FF2B5EF4-FFF2-40B4-BE49-F238E27FC236}">
                <a16:creationId xmlns:a16="http://schemas.microsoft.com/office/drawing/2014/main" id="{1D3D3305-FAA0-4126-89B6-761D7F42BD84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gray">
          <a:xfrm>
            <a:off x="6256338" y="3824288"/>
            <a:ext cx="32543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8E70CB9F-CA4A-47E1-A6FB-F0CD85DADA97}" type="datetime'1''.''''''''''''''''''''''''''''''7''''''''4''''8'''''''''">
              <a:rPr lang="en-US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.748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76" name="Text Placeholder 20">
            <a:extLst>
              <a:ext uri="{FF2B5EF4-FFF2-40B4-BE49-F238E27FC236}">
                <a16:creationId xmlns:a16="http://schemas.microsoft.com/office/drawing/2014/main" id="{CC998229-98E6-4FC5-95CC-A9BB6E0BAF01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gray">
          <a:xfrm>
            <a:off x="6249988" y="4029075"/>
            <a:ext cx="32543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EB1C16FE-8ADD-4F8F-8607-02D380D9FEF0}" type="datetime'''1''''.''''''''''''''''''7''''''''2''''''''''''''''''3'">
              <a:rPr lang="en-US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.723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graphicFrame>
        <p:nvGraphicFramePr>
          <p:cNvPr id="140" name="Chart 139">
            <a:extLst>
              <a:ext uri="{FF2B5EF4-FFF2-40B4-BE49-F238E27FC236}">
                <a16:creationId xmlns:a16="http://schemas.microsoft.com/office/drawing/2014/main" id="{B493BDFC-CC62-42B0-9EEA-239DB212035E}"/>
              </a:ext>
            </a:extLst>
          </p:cNvPr>
          <p:cNvGraphicFramePr/>
          <p:nvPr>
            <p:custDataLst>
              <p:tags r:id="rId69"/>
            </p:custDataLst>
            <p:extLst>
              <p:ext uri="{D42A27DB-BD31-4B8C-83A1-F6EECF244321}">
                <p14:modId xmlns:p14="http://schemas.microsoft.com/office/powerpoint/2010/main" val="789335727"/>
              </p:ext>
            </p:extLst>
          </p:nvPr>
        </p:nvGraphicFramePr>
        <p:xfrm>
          <a:off x="9132888" y="1878013"/>
          <a:ext cx="1500187" cy="4464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3"/>
          </a:graphicData>
        </a:graphic>
      </p:graphicFrame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4F8D6C46-99FF-41F5-AA97-77079D47D904}"/>
              </a:ext>
            </a:extLst>
          </p:cNvPr>
          <p:cNvCxnSpPr/>
          <p:nvPr>
            <p:custDataLst>
              <p:tags r:id="rId70"/>
            </p:custDataLst>
          </p:nvPr>
        </p:nvCxnSpPr>
        <p:spPr bwMode="auto">
          <a:xfrm flipH="1">
            <a:off x="9531350" y="3905250"/>
            <a:ext cx="777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20B77315-6ECF-477E-AB7B-29D2F0569D76}"/>
              </a:ext>
            </a:extLst>
          </p:cNvPr>
          <p:cNvCxnSpPr/>
          <p:nvPr>
            <p:custDataLst>
              <p:tags r:id="rId71"/>
            </p:custDataLst>
          </p:nvPr>
        </p:nvCxnSpPr>
        <p:spPr bwMode="auto">
          <a:xfrm flipH="1">
            <a:off x="9536113" y="4110038"/>
            <a:ext cx="825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994CB594-FD12-4CC2-B33B-12B1A0391D80}"/>
              </a:ext>
            </a:extLst>
          </p:cNvPr>
          <p:cNvCxnSpPr/>
          <p:nvPr>
            <p:custDataLst>
              <p:tags r:id="rId72"/>
            </p:custDataLst>
          </p:nvPr>
        </p:nvCxnSpPr>
        <p:spPr bwMode="auto">
          <a:xfrm flipH="1">
            <a:off x="9518650" y="4313238"/>
            <a:ext cx="635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98C46AC8-BCDF-4568-9FF7-254AB1045F75}"/>
              </a:ext>
            </a:extLst>
          </p:cNvPr>
          <p:cNvCxnSpPr/>
          <p:nvPr>
            <p:custDataLst>
              <p:tags r:id="rId73"/>
            </p:custDataLst>
          </p:nvPr>
        </p:nvCxnSpPr>
        <p:spPr bwMode="auto">
          <a:xfrm flipH="1">
            <a:off x="9529763" y="5132388"/>
            <a:ext cx="762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A2AE12E7-70D1-42CB-B2C1-4B2206089A95}"/>
              </a:ext>
            </a:extLst>
          </p:cNvPr>
          <p:cNvCxnSpPr/>
          <p:nvPr>
            <p:custDataLst>
              <p:tags r:id="rId74"/>
            </p:custDataLst>
          </p:nvPr>
        </p:nvCxnSpPr>
        <p:spPr bwMode="auto">
          <a:xfrm flipH="1">
            <a:off x="9501188" y="4518025"/>
            <a:ext cx="4603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6F386CBD-3DFF-462D-8188-3871EFAB2C57}"/>
              </a:ext>
            </a:extLst>
          </p:cNvPr>
          <p:cNvCxnSpPr/>
          <p:nvPr>
            <p:custDataLst>
              <p:tags r:id="rId75"/>
            </p:custDataLst>
          </p:nvPr>
        </p:nvCxnSpPr>
        <p:spPr bwMode="auto">
          <a:xfrm flipH="1">
            <a:off x="9513888" y="4722813"/>
            <a:ext cx="603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EEB8D039-C064-4988-A26F-D85D4FE85866}"/>
              </a:ext>
            </a:extLst>
          </p:cNvPr>
          <p:cNvCxnSpPr/>
          <p:nvPr>
            <p:custDataLst>
              <p:tags r:id="rId76"/>
            </p:custDataLst>
          </p:nvPr>
        </p:nvCxnSpPr>
        <p:spPr bwMode="auto">
          <a:xfrm flipH="1">
            <a:off x="9510713" y="5337175"/>
            <a:ext cx="571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B5C06B60-B325-44D8-AA42-562C9BDAB2D5}"/>
              </a:ext>
            </a:extLst>
          </p:cNvPr>
          <p:cNvCxnSpPr/>
          <p:nvPr>
            <p:custDataLst>
              <p:tags r:id="rId77"/>
            </p:custDataLst>
          </p:nvPr>
        </p:nvCxnSpPr>
        <p:spPr bwMode="auto">
          <a:xfrm flipH="1">
            <a:off x="9518650" y="5541963"/>
            <a:ext cx="635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C4DE31AB-B15D-4900-98E4-5421C0F5EA3E}"/>
              </a:ext>
            </a:extLst>
          </p:cNvPr>
          <p:cNvCxnSpPr/>
          <p:nvPr>
            <p:custDataLst>
              <p:tags r:id="rId78"/>
            </p:custDataLst>
          </p:nvPr>
        </p:nvCxnSpPr>
        <p:spPr bwMode="auto">
          <a:xfrm flipH="1">
            <a:off x="9498013" y="5746750"/>
            <a:ext cx="428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B50B9E0C-02C3-48E5-B8E6-95070D19E7C7}"/>
              </a:ext>
            </a:extLst>
          </p:cNvPr>
          <p:cNvCxnSpPr/>
          <p:nvPr>
            <p:custDataLst>
              <p:tags r:id="rId79"/>
            </p:custDataLst>
          </p:nvPr>
        </p:nvCxnSpPr>
        <p:spPr bwMode="auto">
          <a:xfrm flipH="1">
            <a:off x="9485313" y="6156325"/>
            <a:ext cx="301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1E3225DD-97A1-4936-9762-0C69384D8829}"/>
              </a:ext>
            </a:extLst>
          </p:cNvPr>
          <p:cNvCxnSpPr/>
          <p:nvPr>
            <p:custDataLst>
              <p:tags r:id="rId80"/>
            </p:custDataLst>
          </p:nvPr>
        </p:nvCxnSpPr>
        <p:spPr bwMode="auto">
          <a:xfrm flipH="1">
            <a:off x="9478963" y="5951538"/>
            <a:ext cx="254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2" name="Text Placeholder 20">
            <a:extLst>
              <a:ext uri="{FF2B5EF4-FFF2-40B4-BE49-F238E27FC236}">
                <a16:creationId xmlns:a16="http://schemas.microsoft.com/office/drawing/2014/main" id="{4D7E8A6B-D496-41C4-ACB0-395C8033D781}"/>
              </a:ext>
            </a:extLst>
          </p:cNvPr>
          <p:cNvSpPr>
            <a:spLocks noGrp="1"/>
          </p:cNvSpPr>
          <p:nvPr>
            <p:custDataLst>
              <p:tags r:id="rId81"/>
            </p:custDataLst>
          </p:nvPr>
        </p:nvSpPr>
        <p:spPr bwMode="gray">
          <a:xfrm>
            <a:off x="9720263" y="2008188"/>
            <a:ext cx="32543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955BFF2D-6573-4333-A360-B46AAA514EED}" type="datetime'''''2.''''''2''''8''''''''4'''''''''''''''''''''''''''''''''">
              <a:rPr lang="en-US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2.284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93" name="Text Placeholder 20">
            <a:extLst>
              <a:ext uri="{FF2B5EF4-FFF2-40B4-BE49-F238E27FC236}">
                <a16:creationId xmlns:a16="http://schemas.microsoft.com/office/drawing/2014/main" id="{87F856E0-B463-44BC-994E-738AE63DE661}"/>
              </a:ext>
            </a:extLst>
          </p:cNvPr>
          <p:cNvSpPr>
            <a:spLocks noGrp="1"/>
          </p:cNvSpPr>
          <p:nvPr>
            <p:custDataLst>
              <p:tags r:id="rId82"/>
            </p:custDataLst>
          </p:nvPr>
        </p:nvSpPr>
        <p:spPr bwMode="gray">
          <a:xfrm>
            <a:off x="9455150" y="3646488"/>
            <a:ext cx="223838" cy="109538"/>
          </a:xfrm>
          <a:prstGeom prst="rect">
            <a:avLst/>
          </a:prstGeom>
          <a:solidFill>
            <a:srgbClr val="969696"/>
          </a:solidFill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ADADC915-6314-4866-B3B3-DAFC135A92CF}" type="datetime'''''''5''''''''''''''''''''''''''''0''''''''0'''''''''">
              <a:rPr lang="en-US" altLang="en-US" sz="800" smtClean="0">
                <a:solidFill>
                  <a:srgbClr val="000000"/>
                </a:solidFill>
                <a:effectLst/>
              </a:rPr>
              <a:pPr/>
              <a:t>500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+mn-cs"/>
            </a:endParaRPr>
          </a:p>
        </p:txBody>
      </p:sp>
      <p:sp>
        <p:nvSpPr>
          <p:cNvPr id="94" name="Text Placeholder 20">
            <a:extLst>
              <a:ext uri="{FF2B5EF4-FFF2-40B4-BE49-F238E27FC236}">
                <a16:creationId xmlns:a16="http://schemas.microsoft.com/office/drawing/2014/main" id="{C167505C-4F8C-4D10-94F6-414F7E71A2D2}"/>
              </a:ext>
            </a:extLst>
          </p:cNvPr>
          <p:cNvSpPr>
            <a:spLocks noGrp="1"/>
          </p:cNvSpPr>
          <p:nvPr>
            <p:custDataLst>
              <p:tags r:id="rId83"/>
            </p:custDataLst>
          </p:nvPr>
        </p:nvSpPr>
        <p:spPr bwMode="gray">
          <a:xfrm>
            <a:off x="9523413" y="2417763"/>
            <a:ext cx="32543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37BA39B9-C3DC-43F5-96E7-A5E3F2DB762E}" type="datetime'''1.''''''''''1''''''''''''''''''''''''''''6''''''''9'''''">
              <a:rPr lang="en-US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.169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95" name="Text Placeholder 20">
            <a:extLst>
              <a:ext uri="{FF2B5EF4-FFF2-40B4-BE49-F238E27FC236}">
                <a16:creationId xmlns:a16="http://schemas.microsoft.com/office/drawing/2014/main" id="{CD004F28-F5CC-4195-9CA3-BA2A78C14BAF}"/>
              </a:ext>
            </a:extLst>
          </p:cNvPr>
          <p:cNvSpPr>
            <a:spLocks noGrp="1"/>
          </p:cNvSpPr>
          <p:nvPr>
            <p:custDataLst>
              <p:tags r:id="rId84"/>
            </p:custDataLst>
          </p:nvPr>
        </p:nvSpPr>
        <p:spPr bwMode="gray">
          <a:xfrm>
            <a:off x="9463088" y="3032125"/>
            <a:ext cx="223838" cy="109538"/>
          </a:xfrm>
          <a:prstGeom prst="rect">
            <a:avLst/>
          </a:prstGeom>
          <a:solidFill>
            <a:srgbClr val="969696"/>
          </a:solidFill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A1CB129B-FF8A-4448-8C14-553F25024E4F}" type="datetime'5''''''''''''''''4''''2'">
              <a:rPr lang="en-US" altLang="en-US" sz="800" smtClean="0">
                <a:solidFill>
                  <a:srgbClr val="000000"/>
                </a:solidFill>
                <a:effectLst/>
              </a:rPr>
              <a:pPr/>
              <a:t>542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+mn-cs"/>
            </a:endParaRPr>
          </a:p>
        </p:txBody>
      </p:sp>
      <p:sp>
        <p:nvSpPr>
          <p:cNvPr id="96" name="Text Placeholder 20">
            <a:extLst>
              <a:ext uri="{FF2B5EF4-FFF2-40B4-BE49-F238E27FC236}">
                <a16:creationId xmlns:a16="http://schemas.microsoft.com/office/drawing/2014/main" id="{70352D34-16B6-4A47-AB0A-526CBFF85724}"/>
              </a:ext>
            </a:extLst>
          </p:cNvPr>
          <p:cNvSpPr>
            <a:spLocks noGrp="1"/>
          </p:cNvSpPr>
          <p:nvPr>
            <p:custDataLst>
              <p:tags r:id="rId85"/>
            </p:custDataLst>
          </p:nvPr>
        </p:nvSpPr>
        <p:spPr bwMode="gray">
          <a:xfrm>
            <a:off x="9458325" y="4873625"/>
            <a:ext cx="223838" cy="109538"/>
          </a:xfrm>
          <a:prstGeom prst="rect">
            <a:avLst/>
          </a:prstGeom>
          <a:solidFill>
            <a:srgbClr val="969696"/>
          </a:solidFill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31CF683E-E669-4AD7-BD2C-C858337F8FAE}" type="datetime'''''5''''''''''''''''''''''''''''''''''''''''''16'''''''''''''">
              <a:rPr lang="en-US" altLang="en-US" sz="800" smtClean="0">
                <a:solidFill>
                  <a:srgbClr val="000000"/>
                </a:solidFill>
                <a:effectLst/>
              </a:rPr>
              <a:pPr/>
              <a:t>516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+mn-cs"/>
            </a:endParaRPr>
          </a:p>
        </p:txBody>
      </p:sp>
      <p:sp>
        <p:nvSpPr>
          <p:cNvPr id="97" name="Text Placeholder 20">
            <a:extLst>
              <a:ext uri="{FF2B5EF4-FFF2-40B4-BE49-F238E27FC236}">
                <a16:creationId xmlns:a16="http://schemas.microsoft.com/office/drawing/2014/main" id="{21B92235-01CB-41E2-8667-04EB5F95EE59}"/>
              </a:ext>
            </a:extLst>
          </p:cNvPr>
          <p:cNvSpPr>
            <a:spLocks noGrp="1"/>
          </p:cNvSpPr>
          <p:nvPr>
            <p:custDataLst>
              <p:tags r:id="rId86"/>
            </p:custDataLst>
          </p:nvPr>
        </p:nvSpPr>
        <p:spPr bwMode="gray">
          <a:xfrm>
            <a:off x="9504363" y="5897563"/>
            <a:ext cx="9366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47277233-4F9A-400A-9167-613E0881071F}" type="datetime'''0'''''''''''''''''''''''">
              <a:rPr lang="en-US" altLang="en-US" sz="800" smtClean="0">
                <a:solidFill>
                  <a:srgbClr val="000000"/>
                </a:solidFill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0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graphicFrame>
        <p:nvGraphicFramePr>
          <p:cNvPr id="141" name="Chart 140">
            <a:extLst>
              <a:ext uri="{FF2B5EF4-FFF2-40B4-BE49-F238E27FC236}">
                <a16:creationId xmlns:a16="http://schemas.microsoft.com/office/drawing/2014/main" id="{3D36DD1E-C111-41EA-A0CE-B58DBA82A71F}"/>
              </a:ext>
            </a:extLst>
          </p:cNvPr>
          <p:cNvGraphicFramePr/>
          <p:nvPr>
            <p:custDataLst>
              <p:tags r:id="rId87"/>
            </p:custDataLst>
            <p:extLst>
              <p:ext uri="{D42A27DB-BD31-4B8C-83A1-F6EECF244321}">
                <p14:modId xmlns:p14="http://schemas.microsoft.com/office/powerpoint/2010/main" val="3597367903"/>
              </p:ext>
            </p:extLst>
          </p:nvPr>
        </p:nvGraphicFramePr>
        <p:xfrm>
          <a:off x="10440988" y="1851025"/>
          <a:ext cx="1500187" cy="4464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4"/>
          </a:graphicData>
        </a:graphic>
      </p:graphicFrame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682D080C-C46F-43C6-AB23-D34A9CB01463}"/>
              </a:ext>
            </a:extLst>
          </p:cNvPr>
          <p:cNvCxnSpPr/>
          <p:nvPr>
            <p:custDataLst>
              <p:tags r:id="rId88"/>
            </p:custDataLst>
          </p:nvPr>
        </p:nvCxnSpPr>
        <p:spPr bwMode="auto">
          <a:xfrm flipH="1">
            <a:off x="10931525" y="3468688"/>
            <a:ext cx="984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736AC94C-8357-490D-AC9A-0BB19FE0797C}"/>
              </a:ext>
            </a:extLst>
          </p:cNvPr>
          <p:cNvCxnSpPr/>
          <p:nvPr>
            <p:custDataLst>
              <p:tags r:id="rId89"/>
            </p:custDataLst>
          </p:nvPr>
        </p:nvCxnSpPr>
        <p:spPr bwMode="auto">
          <a:xfrm flipH="1">
            <a:off x="10910888" y="3878263"/>
            <a:ext cx="777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5E603240-9FAE-4FA7-AD28-526135C43F66}"/>
              </a:ext>
            </a:extLst>
          </p:cNvPr>
          <p:cNvCxnSpPr/>
          <p:nvPr>
            <p:custDataLst>
              <p:tags r:id="rId90"/>
            </p:custDataLst>
          </p:nvPr>
        </p:nvCxnSpPr>
        <p:spPr bwMode="auto">
          <a:xfrm flipH="1">
            <a:off x="10904538" y="3263900"/>
            <a:ext cx="698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80BCA78C-4B98-4D53-A472-40276C191409}"/>
              </a:ext>
            </a:extLst>
          </p:cNvPr>
          <p:cNvCxnSpPr/>
          <p:nvPr>
            <p:custDataLst>
              <p:tags r:id="rId91"/>
            </p:custDataLst>
          </p:nvPr>
        </p:nvCxnSpPr>
        <p:spPr bwMode="auto">
          <a:xfrm flipH="1">
            <a:off x="10942638" y="3673475"/>
            <a:ext cx="1016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AD9D4F6C-B432-43E5-BBD1-B598E74B6D69}"/>
              </a:ext>
            </a:extLst>
          </p:cNvPr>
          <p:cNvCxnSpPr/>
          <p:nvPr>
            <p:custDataLst>
              <p:tags r:id="rId92"/>
            </p:custDataLst>
          </p:nvPr>
        </p:nvCxnSpPr>
        <p:spPr bwMode="auto">
          <a:xfrm flipH="1">
            <a:off x="10860088" y="4286250"/>
            <a:ext cx="254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274D43B4-A0F0-4EC2-9DE0-D9E6FAC2C64D}"/>
              </a:ext>
            </a:extLst>
          </p:cNvPr>
          <p:cNvCxnSpPr/>
          <p:nvPr>
            <p:custDataLst>
              <p:tags r:id="rId93"/>
            </p:custDataLst>
          </p:nvPr>
        </p:nvCxnSpPr>
        <p:spPr bwMode="auto">
          <a:xfrm flipH="1">
            <a:off x="10858500" y="4491038"/>
            <a:ext cx="254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4F200D90-DD44-4B2B-87FC-C8D79CF2FF00}"/>
              </a:ext>
            </a:extLst>
          </p:cNvPr>
          <p:cNvCxnSpPr/>
          <p:nvPr>
            <p:custDataLst>
              <p:tags r:id="rId94"/>
            </p:custDataLst>
          </p:nvPr>
        </p:nvCxnSpPr>
        <p:spPr bwMode="auto">
          <a:xfrm flipH="1">
            <a:off x="10880725" y="4695825"/>
            <a:ext cx="476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05BC694D-0011-452E-96EF-BC580778A829}"/>
              </a:ext>
            </a:extLst>
          </p:cNvPr>
          <p:cNvCxnSpPr/>
          <p:nvPr>
            <p:custDataLst>
              <p:tags r:id="rId95"/>
            </p:custDataLst>
          </p:nvPr>
        </p:nvCxnSpPr>
        <p:spPr bwMode="auto">
          <a:xfrm flipH="1">
            <a:off x="10917238" y="4900613"/>
            <a:ext cx="8413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974A2EE7-19AA-492E-BAB0-354B94DE3616}"/>
              </a:ext>
            </a:extLst>
          </p:cNvPr>
          <p:cNvCxnSpPr/>
          <p:nvPr>
            <p:custDataLst>
              <p:tags r:id="rId96"/>
            </p:custDataLst>
          </p:nvPr>
        </p:nvCxnSpPr>
        <p:spPr bwMode="auto">
          <a:xfrm flipH="1">
            <a:off x="10885488" y="5105400"/>
            <a:ext cx="523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69180583-6979-4728-AE10-1BE1E85A7CFA}"/>
              </a:ext>
            </a:extLst>
          </p:cNvPr>
          <p:cNvCxnSpPr/>
          <p:nvPr>
            <p:custDataLst>
              <p:tags r:id="rId97"/>
            </p:custDataLst>
          </p:nvPr>
        </p:nvCxnSpPr>
        <p:spPr bwMode="auto">
          <a:xfrm flipH="1">
            <a:off x="10895013" y="5310188"/>
            <a:ext cx="6191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D83A283A-0C87-4A7B-8677-9D34FAF1408C}"/>
              </a:ext>
            </a:extLst>
          </p:cNvPr>
          <p:cNvCxnSpPr/>
          <p:nvPr>
            <p:custDataLst>
              <p:tags r:id="rId98"/>
            </p:custDataLst>
          </p:nvPr>
        </p:nvCxnSpPr>
        <p:spPr bwMode="auto">
          <a:xfrm flipH="1">
            <a:off x="10898188" y="5719763"/>
            <a:ext cx="650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D98F41F3-FA23-47E8-A9A7-052C086EFE32}"/>
              </a:ext>
            </a:extLst>
          </p:cNvPr>
          <p:cNvCxnSpPr/>
          <p:nvPr>
            <p:custDataLst>
              <p:tags r:id="rId99"/>
            </p:custDataLst>
          </p:nvPr>
        </p:nvCxnSpPr>
        <p:spPr bwMode="auto">
          <a:xfrm flipH="1">
            <a:off x="10860088" y="5924550"/>
            <a:ext cx="254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43C1027D-4284-476D-9601-056DAD82F0C6}"/>
              </a:ext>
            </a:extLst>
          </p:cNvPr>
          <p:cNvCxnSpPr/>
          <p:nvPr>
            <p:custDataLst>
              <p:tags r:id="rId100"/>
            </p:custDataLst>
          </p:nvPr>
        </p:nvCxnSpPr>
        <p:spPr bwMode="auto">
          <a:xfrm flipH="1">
            <a:off x="10858500" y="6129338"/>
            <a:ext cx="254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2" name="Text Placeholder 20">
            <a:extLst>
              <a:ext uri="{FF2B5EF4-FFF2-40B4-BE49-F238E27FC236}">
                <a16:creationId xmlns:a16="http://schemas.microsoft.com/office/drawing/2014/main" id="{10D6E5AD-6525-4EAF-BE76-AFFC8E67524A}"/>
              </a:ext>
            </a:extLst>
          </p:cNvPr>
          <p:cNvSpPr>
            <a:spLocks noGrp="1"/>
          </p:cNvSpPr>
          <p:nvPr>
            <p:custDataLst>
              <p:tags r:id="rId101"/>
            </p:custDataLst>
          </p:nvPr>
        </p:nvSpPr>
        <p:spPr bwMode="gray">
          <a:xfrm>
            <a:off x="10983913" y="3005138"/>
            <a:ext cx="32543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044F2A8E-BB44-40BE-987F-23E481280760}" type="datetime'''''''''''1.''2''''''''''3''''8'''''''''''''">
              <a:rPr lang="en-US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.238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14" name="Text Placeholder 20">
            <a:extLst>
              <a:ext uri="{FF2B5EF4-FFF2-40B4-BE49-F238E27FC236}">
                <a16:creationId xmlns:a16="http://schemas.microsoft.com/office/drawing/2014/main" id="{5C60097D-BF8D-4D3A-B0ED-F73AECB330C0}"/>
              </a:ext>
            </a:extLst>
          </p:cNvPr>
          <p:cNvSpPr>
            <a:spLocks noGrp="1"/>
          </p:cNvSpPr>
          <p:nvPr>
            <p:custDataLst>
              <p:tags r:id="rId102"/>
            </p:custDataLst>
          </p:nvPr>
        </p:nvSpPr>
        <p:spPr bwMode="gray">
          <a:xfrm>
            <a:off x="11028363" y="2800350"/>
            <a:ext cx="32543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85B74ED3-86DB-4A30-9667-E35916438DA7}" type="datetime'''''''''''''1''''.''''4''''''2''''''''''''''''''9'">
              <a:rPr lang="en-US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.429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15" name="Text Placeholder 20">
            <a:extLst>
              <a:ext uri="{FF2B5EF4-FFF2-40B4-BE49-F238E27FC236}">
                <a16:creationId xmlns:a16="http://schemas.microsoft.com/office/drawing/2014/main" id="{A1178076-4F50-4B95-ADA7-897A3D87AD42}"/>
              </a:ext>
            </a:extLst>
          </p:cNvPr>
          <p:cNvSpPr>
            <a:spLocks noGrp="1"/>
          </p:cNvSpPr>
          <p:nvPr>
            <p:custDataLst>
              <p:tags r:id="rId103"/>
            </p:custDataLst>
          </p:nvPr>
        </p:nvSpPr>
        <p:spPr bwMode="gray">
          <a:xfrm>
            <a:off x="10885488" y="4232275"/>
            <a:ext cx="9366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5B657E63-9362-438E-888B-9B6DDBE0F440}" type="datetime'''''''''''''''''''''''''''''''3'''''''''''''''''''''''''''''''">
              <a:rPr lang="en-US" altLang="en-US" sz="800" smtClean="0">
                <a:solidFill>
                  <a:srgbClr val="000000"/>
                </a:solidFill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3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16" name="Text Placeholder 20">
            <a:extLst>
              <a:ext uri="{FF2B5EF4-FFF2-40B4-BE49-F238E27FC236}">
                <a16:creationId xmlns:a16="http://schemas.microsoft.com/office/drawing/2014/main" id="{866DB7FD-60A0-494B-8FA7-04222E3B35C4}"/>
              </a:ext>
            </a:extLst>
          </p:cNvPr>
          <p:cNvSpPr>
            <a:spLocks noGrp="1"/>
          </p:cNvSpPr>
          <p:nvPr>
            <p:custDataLst>
              <p:tags r:id="rId104"/>
            </p:custDataLst>
          </p:nvPr>
        </p:nvSpPr>
        <p:spPr bwMode="gray">
          <a:xfrm>
            <a:off x="10883900" y="4437063"/>
            <a:ext cx="9366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4D2BA2EA-C55C-42D7-AD05-1E24BDC7250F}" type="datetime'0'''''''''''''''''''''''''''''''''">
              <a:rPr lang="en-US" altLang="en-US" sz="800" smtClean="0">
                <a:solidFill>
                  <a:srgbClr val="000000"/>
                </a:solidFill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0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13" name="Text Placeholder 20">
            <a:extLst>
              <a:ext uri="{FF2B5EF4-FFF2-40B4-BE49-F238E27FC236}">
                <a16:creationId xmlns:a16="http://schemas.microsoft.com/office/drawing/2014/main" id="{787EE272-2682-4AB8-AE45-EE245FDD9FC7}"/>
              </a:ext>
            </a:extLst>
          </p:cNvPr>
          <p:cNvSpPr>
            <a:spLocks noGrp="1"/>
          </p:cNvSpPr>
          <p:nvPr>
            <p:custDataLst>
              <p:tags r:id="rId105"/>
            </p:custDataLst>
          </p:nvPr>
        </p:nvSpPr>
        <p:spPr bwMode="gray">
          <a:xfrm>
            <a:off x="10885488" y="5870575"/>
            <a:ext cx="9366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3BBF6DE2-50EB-4504-8FAD-315F9552F34C}" type="datetime'2'''''''''''''''''''''''''''''''''''''''''''''''''''">
              <a:rPr lang="en-US" altLang="en-US" sz="800" smtClean="0">
                <a:solidFill>
                  <a:srgbClr val="000000"/>
                </a:solidFill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2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17" name="Text Placeholder 20">
            <a:extLst>
              <a:ext uri="{FF2B5EF4-FFF2-40B4-BE49-F238E27FC236}">
                <a16:creationId xmlns:a16="http://schemas.microsoft.com/office/drawing/2014/main" id="{A90D0392-9211-4F16-91D5-DE34CFF22679}"/>
              </a:ext>
            </a:extLst>
          </p:cNvPr>
          <p:cNvSpPr>
            <a:spLocks noGrp="1"/>
          </p:cNvSpPr>
          <p:nvPr>
            <p:custDataLst>
              <p:tags r:id="rId106"/>
            </p:custDataLst>
          </p:nvPr>
        </p:nvSpPr>
        <p:spPr bwMode="gray">
          <a:xfrm>
            <a:off x="10883900" y="6075363"/>
            <a:ext cx="9366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485B4C13-44AF-438F-AE11-FAE861FB6F59}" type="datetime'''''''''''''''''''''''''''0'''''''''''''">
              <a:rPr lang="en-US" altLang="en-US" sz="800" smtClean="0">
                <a:solidFill>
                  <a:srgbClr val="000000"/>
                </a:solidFill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0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pic>
        <p:nvPicPr>
          <p:cNvPr id="118" name="Picture 2" descr="Image result for magnum go лого">
            <a:extLst>
              <a:ext uri="{FF2B5EF4-FFF2-40B4-BE49-F238E27FC236}">
                <a16:creationId xmlns:a16="http://schemas.microsoft.com/office/drawing/2014/main" id="{6BFEA2A0-5CE1-4BC0-A77B-9E756C84E4D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093" r="42049" b="51254"/>
          <a:stretch/>
        </p:blipFill>
        <p:spPr bwMode="auto">
          <a:xfrm>
            <a:off x="2749519" y="1486409"/>
            <a:ext cx="690420" cy="4297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42" name="Chart 141">
            <a:extLst>
              <a:ext uri="{FF2B5EF4-FFF2-40B4-BE49-F238E27FC236}">
                <a16:creationId xmlns:a16="http://schemas.microsoft.com/office/drawing/2014/main" id="{EDD862A2-291A-45E0-97CF-ED9399999F6A}"/>
              </a:ext>
            </a:extLst>
          </p:cNvPr>
          <p:cNvGraphicFramePr/>
          <p:nvPr>
            <p:custDataLst>
              <p:tags r:id="rId107"/>
            </p:custDataLst>
            <p:extLst>
              <p:ext uri="{D42A27DB-BD31-4B8C-83A1-F6EECF244321}">
                <p14:modId xmlns:p14="http://schemas.microsoft.com/office/powerpoint/2010/main" val="2380850430"/>
              </p:ext>
            </p:extLst>
          </p:nvPr>
        </p:nvGraphicFramePr>
        <p:xfrm>
          <a:off x="7685088" y="1878013"/>
          <a:ext cx="1520825" cy="4464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6"/>
          </a:graphicData>
        </a:graphic>
      </p:graphicFrame>
      <p:cxnSp>
        <p:nvCxnSpPr>
          <p:cNvPr id="120" name="Straight Connector 119">
            <a:extLst>
              <a:ext uri="{FF2B5EF4-FFF2-40B4-BE49-F238E27FC236}">
                <a16:creationId xmlns:a16="http://schemas.microsoft.com/office/drawing/2014/main" id="{38CEDB0A-1EA5-4F51-9F27-69C829138575}"/>
              </a:ext>
            </a:extLst>
          </p:cNvPr>
          <p:cNvCxnSpPr/>
          <p:nvPr>
            <p:custDataLst>
              <p:tags r:id="rId108"/>
            </p:custDataLst>
          </p:nvPr>
        </p:nvCxnSpPr>
        <p:spPr bwMode="auto">
          <a:xfrm flipH="1">
            <a:off x="7767638" y="6156325"/>
            <a:ext cx="254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6EC99F92-E9F0-4366-8DD9-47DE3EBF6E18}"/>
              </a:ext>
            </a:extLst>
          </p:cNvPr>
          <p:cNvCxnSpPr/>
          <p:nvPr>
            <p:custDataLst>
              <p:tags r:id="rId109"/>
            </p:custDataLst>
          </p:nvPr>
        </p:nvCxnSpPr>
        <p:spPr bwMode="auto">
          <a:xfrm flipH="1">
            <a:off x="7802563" y="5746750"/>
            <a:ext cx="603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8C443BF0-AFB8-4CDF-BB1D-16C14D73D906}"/>
              </a:ext>
            </a:extLst>
          </p:cNvPr>
          <p:cNvCxnSpPr/>
          <p:nvPr>
            <p:custDataLst>
              <p:tags r:id="rId110"/>
            </p:custDataLst>
          </p:nvPr>
        </p:nvCxnSpPr>
        <p:spPr bwMode="auto">
          <a:xfrm flipH="1">
            <a:off x="7767638" y="5951538"/>
            <a:ext cx="254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7" name="Text Placeholder 20">
            <a:extLst>
              <a:ext uri="{FF2B5EF4-FFF2-40B4-BE49-F238E27FC236}">
                <a16:creationId xmlns:a16="http://schemas.microsoft.com/office/drawing/2014/main" id="{0E6EAD53-0D99-4EE9-A8CA-3958DEFCF5D1}"/>
              </a:ext>
            </a:extLst>
          </p:cNvPr>
          <p:cNvSpPr>
            <a:spLocks noGrp="1"/>
          </p:cNvSpPr>
          <p:nvPr>
            <p:custDataLst>
              <p:tags r:id="rId111"/>
            </p:custDataLst>
          </p:nvPr>
        </p:nvSpPr>
        <p:spPr bwMode="gray">
          <a:xfrm>
            <a:off x="7980363" y="2417763"/>
            <a:ext cx="32543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102DFF14-BBA5-459B-9DD4-4F3E2F63180A}" type="datetime'''''''''''''''''1''.''''''''''''''''''''''''''783'''''''">
              <a:rPr lang="en-US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.783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23" name="Text Placeholder 20">
            <a:extLst>
              <a:ext uri="{FF2B5EF4-FFF2-40B4-BE49-F238E27FC236}">
                <a16:creationId xmlns:a16="http://schemas.microsoft.com/office/drawing/2014/main" id="{BAC9C2C5-8367-443B-8ADA-E185400283AD}"/>
              </a:ext>
            </a:extLst>
          </p:cNvPr>
          <p:cNvSpPr>
            <a:spLocks noGrp="1"/>
          </p:cNvSpPr>
          <p:nvPr>
            <p:custDataLst>
              <p:tags r:id="rId112"/>
            </p:custDataLst>
          </p:nvPr>
        </p:nvSpPr>
        <p:spPr bwMode="gray">
          <a:xfrm>
            <a:off x="8215313" y="2008188"/>
            <a:ext cx="32543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ECB8E649-DB77-4638-8C42-EEF20AB31177}" type="datetime'2''''.''''''''''''''''''''''''''''''''''''89''4'''''''''''''''">
              <a:rPr lang="en-US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2.894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25" name="Text Placeholder 20">
            <a:extLst>
              <a:ext uri="{FF2B5EF4-FFF2-40B4-BE49-F238E27FC236}">
                <a16:creationId xmlns:a16="http://schemas.microsoft.com/office/drawing/2014/main" id="{F7CFB71D-C8A6-4D94-B219-38F3AE8F81B0}"/>
              </a:ext>
            </a:extLst>
          </p:cNvPr>
          <p:cNvSpPr>
            <a:spLocks noGrp="1"/>
          </p:cNvSpPr>
          <p:nvPr>
            <p:custDataLst>
              <p:tags r:id="rId113"/>
            </p:custDataLst>
          </p:nvPr>
        </p:nvSpPr>
        <p:spPr bwMode="gray">
          <a:xfrm>
            <a:off x="8283575" y="2212975"/>
            <a:ext cx="32543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25C0D877-B068-495F-82B1-AD8C7DA47B6D}" type="datetime'''''''''''''''''''''''''''''''3''''.''''''''2''''''''''''1''6'">
              <a:rPr lang="en-US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3.216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28" name="Text Placeholder 20">
            <a:extLst>
              <a:ext uri="{FF2B5EF4-FFF2-40B4-BE49-F238E27FC236}">
                <a16:creationId xmlns:a16="http://schemas.microsoft.com/office/drawing/2014/main" id="{ECEA3400-A1CC-44C9-BC9A-394F0A6AB1F7}"/>
              </a:ext>
            </a:extLst>
          </p:cNvPr>
          <p:cNvSpPr>
            <a:spLocks noGrp="1"/>
          </p:cNvSpPr>
          <p:nvPr>
            <p:custDataLst>
              <p:tags r:id="rId114"/>
            </p:custDataLst>
          </p:nvPr>
        </p:nvSpPr>
        <p:spPr bwMode="gray">
          <a:xfrm>
            <a:off x="8039100" y="2622550"/>
            <a:ext cx="32543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FE804CA6-F709-4699-9BDB-0ADF1B7A0942}" type="datetime'''''''2''.''''''''''''''0''''''''''''''''''''6''''''1'">
              <a:rPr lang="en-US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2.061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24" name="Text Placeholder 20">
            <a:extLst>
              <a:ext uri="{FF2B5EF4-FFF2-40B4-BE49-F238E27FC236}">
                <a16:creationId xmlns:a16="http://schemas.microsoft.com/office/drawing/2014/main" id="{06C5ECAD-2956-4B6A-8DEE-1F0D4BD8E8F4}"/>
              </a:ext>
            </a:extLst>
          </p:cNvPr>
          <p:cNvSpPr>
            <a:spLocks noGrp="1"/>
          </p:cNvSpPr>
          <p:nvPr>
            <p:custDataLst>
              <p:tags r:id="rId115"/>
            </p:custDataLst>
          </p:nvPr>
        </p:nvSpPr>
        <p:spPr bwMode="gray">
          <a:xfrm>
            <a:off x="7866063" y="4259263"/>
            <a:ext cx="32543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37F71C96-8081-436A-800C-15C487E6D24A}" type="datetime'''''''1.2''''''3''''''''8'''''''''''''''''''''''''''">
              <a:rPr lang="en-US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.238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29" name="Text Placeholder 20">
            <a:extLst>
              <a:ext uri="{FF2B5EF4-FFF2-40B4-BE49-F238E27FC236}">
                <a16:creationId xmlns:a16="http://schemas.microsoft.com/office/drawing/2014/main" id="{8BFF7F8E-226C-43F8-A8ED-80C76531CB7B}"/>
              </a:ext>
            </a:extLst>
          </p:cNvPr>
          <p:cNvSpPr>
            <a:spLocks noGrp="1"/>
          </p:cNvSpPr>
          <p:nvPr>
            <p:custDataLst>
              <p:tags r:id="rId116"/>
            </p:custDataLst>
          </p:nvPr>
        </p:nvSpPr>
        <p:spPr bwMode="gray">
          <a:xfrm>
            <a:off x="7915275" y="2827338"/>
            <a:ext cx="32543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515BE05B-EA82-4385-83A8-7D8301516FD8}" type="datetime'''''''''''''''''1''''.''''''''''4''''''''6''8'''''''''">
              <a:rPr lang="en-US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.468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30" name="Text Placeholder 20">
            <a:extLst>
              <a:ext uri="{FF2B5EF4-FFF2-40B4-BE49-F238E27FC236}">
                <a16:creationId xmlns:a16="http://schemas.microsoft.com/office/drawing/2014/main" id="{A94AC497-8334-4CFC-A1A0-EEF04B5623D3}"/>
              </a:ext>
            </a:extLst>
          </p:cNvPr>
          <p:cNvSpPr>
            <a:spLocks noGrp="1"/>
          </p:cNvSpPr>
          <p:nvPr>
            <p:custDataLst>
              <p:tags r:id="rId117"/>
            </p:custDataLst>
          </p:nvPr>
        </p:nvSpPr>
        <p:spPr bwMode="gray">
          <a:xfrm>
            <a:off x="7850188" y="3032125"/>
            <a:ext cx="32543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E85642DB-3C89-4C93-885B-E1B4CCB156DF}" type="datetime'''''''''''''''''''1.''''''''''''1''''6''''''''''''''''''''3'''">
              <a:rPr lang="en-US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.163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26" name="Text Placeholder 20">
            <a:extLst>
              <a:ext uri="{FF2B5EF4-FFF2-40B4-BE49-F238E27FC236}">
                <a16:creationId xmlns:a16="http://schemas.microsoft.com/office/drawing/2014/main" id="{6158773A-B7E0-4680-B26C-2A1475815635}"/>
              </a:ext>
            </a:extLst>
          </p:cNvPr>
          <p:cNvSpPr>
            <a:spLocks noGrp="1"/>
          </p:cNvSpPr>
          <p:nvPr>
            <p:custDataLst>
              <p:tags r:id="rId118"/>
            </p:custDataLst>
          </p:nvPr>
        </p:nvSpPr>
        <p:spPr bwMode="gray">
          <a:xfrm>
            <a:off x="7889875" y="4056063"/>
            <a:ext cx="32543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67BC8F43-6BA8-49B1-817D-B7C00CDCFFCE}" type="datetime'''''1''''''.''3''''4''''''''''''''''''''''''''''''''9'''''''''">
              <a:rPr lang="en-US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1.349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31" name="Text Placeholder 20">
            <a:extLst>
              <a:ext uri="{FF2B5EF4-FFF2-40B4-BE49-F238E27FC236}">
                <a16:creationId xmlns:a16="http://schemas.microsoft.com/office/drawing/2014/main" id="{D626AE3A-FE40-405E-A2A3-11E1CB176B36}"/>
              </a:ext>
            </a:extLst>
          </p:cNvPr>
          <p:cNvSpPr>
            <a:spLocks noGrp="1"/>
          </p:cNvSpPr>
          <p:nvPr>
            <p:custDataLst>
              <p:tags r:id="rId119"/>
            </p:custDataLst>
          </p:nvPr>
        </p:nvSpPr>
        <p:spPr bwMode="gray">
          <a:xfrm>
            <a:off x="7753350" y="5078413"/>
            <a:ext cx="223838" cy="109538"/>
          </a:xfrm>
          <a:prstGeom prst="rect">
            <a:avLst/>
          </a:prstGeom>
          <a:solidFill>
            <a:srgbClr val="969696"/>
          </a:solidFill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3EC69580-EB22-4479-B058-342AF05F3032}" type="datetime'''45''''''''''''''''''''''''''''''''''8'''">
              <a:rPr lang="en-US" altLang="en-US" sz="800" smtClean="0">
                <a:solidFill>
                  <a:srgbClr val="000000"/>
                </a:solidFill>
                <a:effectLst/>
              </a:rPr>
              <a:pPr/>
              <a:t>458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+mn-cs"/>
            </a:endParaRPr>
          </a:p>
        </p:txBody>
      </p:sp>
      <p:sp>
        <p:nvSpPr>
          <p:cNvPr id="134" name="Text Placeholder 20">
            <a:extLst>
              <a:ext uri="{FF2B5EF4-FFF2-40B4-BE49-F238E27FC236}">
                <a16:creationId xmlns:a16="http://schemas.microsoft.com/office/drawing/2014/main" id="{238BBAE7-99A5-4121-8F58-F16317846448}"/>
              </a:ext>
            </a:extLst>
          </p:cNvPr>
          <p:cNvSpPr>
            <a:spLocks noGrp="1"/>
          </p:cNvSpPr>
          <p:nvPr>
            <p:custDataLst>
              <p:tags r:id="rId120"/>
            </p:custDataLst>
          </p:nvPr>
        </p:nvSpPr>
        <p:spPr bwMode="gray">
          <a:xfrm>
            <a:off x="7793038" y="6102350"/>
            <a:ext cx="9366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EFFF8E1A-E997-4EE6-B0CE-E82BCFE93ED8}" type="datetime'''''''''''''''''''''''''''''''''''''''''''''''''''''0'''">
              <a:rPr lang="en-US" altLang="en-US" sz="800" smtClean="0">
                <a:solidFill>
                  <a:srgbClr val="000000"/>
                </a:solidFill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0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32" name="Text Placeholder 20">
            <a:extLst>
              <a:ext uri="{FF2B5EF4-FFF2-40B4-BE49-F238E27FC236}">
                <a16:creationId xmlns:a16="http://schemas.microsoft.com/office/drawing/2014/main" id="{4342F625-90FF-4442-A8C7-5E03030FCD12}"/>
              </a:ext>
            </a:extLst>
          </p:cNvPr>
          <p:cNvSpPr>
            <a:spLocks noGrp="1"/>
          </p:cNvSpPr>
          <p:nvPr>
            <p:custDataLst>
              <p:tags r:id="rId121"/>
            </p:custDataLst>
          </p:nvPr>
        </p:nvSpPr>
        <p:spPr bwMode="gray">
          <a:xfrm>
            <a:off x="7747000" y="5283200"/>
            <a:ext cx="223838" cy="109538"/>
          </a:xfrm>
          <a:prstGeom prst="rect">
            <a:avLst/>
          </a:prstGeom>
          <a:solidFill>
            <a:srgbClr val="969696"/>
          </a:solidFill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36A07E0C-FBED-4514-B340-009B7B906F6F}" type="datetime'''''''''''''''''4''''''''''2''''''9'">
              <a:rPr lang="en-US" altLang="en-US" sz="800" smtClean="0">
                <a:solidFill>
                  <a:srgbClr val="000000"/>
                </a:solidFill>
                <a:effectLst/>
              </a:rPr>
              <a:pPr/>
              <a:t>429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+mn-cs"/>
            </a:endParaRPr>
          </a:p>
        </p:txBody>
      </p:sp>
      <p:sp>
        <p:nvSpPr>
          <p:cNvPr id="133" name="Text Placeholder 20">
            <a:extLst>
              <a:ext uri="{FF2B5EF4-FFF2-40B4-BE49-F238E27FC236}">
                <a16:creationId xmlns:a16="http://schemas.microsoft.com/office/drawing/2014/main" id="{B84BAA16-2CB8-4CCF-BC71-50ECF9333EFD}"/>
              </a:ext>
            </a:extLst>
          </p:cNvPr>
          <p:cNvSpPr>
            <a:spLocks noGrp="1"/>
          </p:cNvSpPr>
          <p:nvPr>
            <p:custDataLst>
              <p:tags r:id="rId122"/>
            </p:custDataLst>
          </p:nvPr>
        </p:nvSpPr>
        <p:spPr bwMode="gray">
          <a:xfrm>
            <a:off x="7793038" y="5897563"/>
            <a:ext cx="9366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41E7F0BC-C2DC-4014-884A-E24D27E379C9}" type="datetime'''''''''''0'''''''''''''''''''''''''">
              <a:rPr lang="en-US" altLang="en-US" sz="800" smtClean="0">
                <a:solidFill>
                  <a:srgbClr val="000000"/>
                </a:solidFill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SzPct val="100000"/>
                <a:buNone/>
              </a:pPr>
              <a:t>0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pic>
        <p:nvPicPr>
          <p:cNvPr id="135" name="Picture 134" descr="Logo&#10;&#10;Description automatically generated">
            <a:extLst>
              <a:ext uri="{FF2B5EF4-FFF2-40B4-BE49-F238E27FC236}">
                <a16:creationId xmlns:a16="http://schemas.microsoft.com/office/drawing/2014/main" id="{E698C9DD-616A-4315-821F-29AD10150C6C}"/>
              </a:ext>
            </a:extLst>
          </p:cNvPr>
          <p:cNvPicPr>
            <a:picLocks noChangeAspect="1"/>
          </p:cNvPicPr>
          <p:nvPr/>
        </p:nvPicPr>
        <p:blipFill>
          <a:blip r:embed="rId1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8459" y="1556739"/>
            <a:ext cx="1068249" cy="387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050238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9FBDCD-8AFA-4187-9760-F291DAA622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63186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3" imgW="378" imgH="377" progId="TCLayout.ActiveDocument.1">
                  <p:embed/>
                </p:oleObj>
              </mc:Choice>
              <mc:Fallback>
                <p:oleObj name="think-cell Slide" r:id="rId133" imgW="378" imgH="37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9FBDCD-8AFA-4187-9760-F291DAA622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9D2EED29-78DF-4B1D-8694-771DA455D40C}"/>
              </a:ext>
            </a:extLst>
          </p:cNvPr>
          <p:cNvSpPr txBox="1"/>
          <p:nvPr/>
        </p:nvSpPr>
        <p:spPr>
          <a:xfrm>
            <a:off x="688185" y="556502"/>
            <a:ext cx="7410786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1B262A"/>
                </a:solidFill>
                <a:latin typeface="ITC Avant Garde Pro Md" panose="020B0602020202020204" pitchFamily="34" charset="0"/>
              </a:rPr>
              <a:t>Competitors’ assortment analysis: Non-food</a:t>
            </a:r>
          </a:p>
        </p:txBody>
      </p:sp>
      <p:cxnSp>
        <p:nvCxnSpPr>
          <p:cNvPr id="294" name="Straight Connector 293">
            <a:extLst>
              <a:ext uri="{FF2B5EF4-FFF2-40B4-BE49-F238E27FC236}">
                <a16:creationId xmlns:a16="http://schemas.microsoft.com/office/drawing/2014/main" id="{6B1DFD03-D017-49A2-A040-2F8284151A4A}"/>
              </a:ext>
            </a:extLst>
          </p:cNvPr>
          <p:cNvCxnSpPr>
            <a:cxnSpLocks/>
          </p:cNvCxnSpPr>
          <p:nvPr/>
        </p:nvCxnSpPr>
        <p:spPr>
          <a:xfrm>
            <a:off x="688185" y="1082000"/>
            <a:ext cx="1101613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0" name="TextBox 299">
            <a:extLst>
              <a:ext uri="{FF2B5EF4-FFF2-40B4-BE49-F238E27FC236}">
                <a16:creationId xmlns:a16="http://schemas.microsoft.com/office/drawing/2014/main" id="{BD914457-B6A1-42E4-95EB-6C9B5E38653C}"/>
              </a:ext>
            </a:extLst>
          </p:cNvPr>
          <p:cNvSpPr txBox="1"/>
          <p:nvPr/>
        </p:nvSpPr>
        <p:spPr bwMode="gray">
          <a:xfrm>
            <a:off x="688184" y="1173627"/>
            <a:ext cx="11148384" cy="5110821"/>
          </a:xfrm>
          <a:prstGeom prst="rect">
            <a:avLst/>
          </a:prstGeom>
          <a:ln w="9525">
            <a:solidFill>
              <a:srgbClr val="797878"/>
            </a:solidFill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                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umber of SKUs per each group in Non-Food class</a:t>
            </a: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301" name="Picture 300" descr="Logo, company name&#10;&#10;Description automatically generated">
            <a:extLst>
              <a:ext uri="{FF2B5EF4-FFF2-40B4-BE49-F238E27FC236}">
                <a16:creationId xmlns:a16="http://schemas.microsoft.com/office/drawing/2014/main" id="{179C5F9D-C22A-46F4-8A92-5A983D38AFE0}"/>
              </a:ext>
            </a:extLst>
          </p:cNvPr>
          <p:cNvPicPr>
            <a:picLocks noChangeAspect="1"/>
          </p:cNvPicPr>
          <p:nvPr/>
        </p:nvPicPr>
        <p:blipFill rotWithShape="1">
          <a:blip r:embed="rId1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57" t="28662" r="10750" b="29903"/>
          <a:stretch/>
        </p:blipFill>
        <p:spPr>
          <a:xfrm>
            <a:off x="4141478" y="1525570"/>
            <a:ext cx="1273330" cy="298654"/>
          </a:xfrm>
          <a:prstGeom prst="rect">
            <a:avLst/>
          </a:prstGeom>
        </p:spPr>
      </p:pic>
      <p:pic>
        <p:nvPicPr>
          <p:cNvPr id="302" name="Picture 301" descr="Logo, company name&#10;&#10;Description automatically generated">
            <a:extLst>
              <a:ext uri="{FF2B5EF4-FFF2-40B4-BE49-F238E27FC236}">
                <a16:creationId xmlns:a16="http://schemas.microsoft.com/office/drawing/2014/main" id="{596D6895-9B5F-4721-B272-0B79C11DD500}"/>
              </a:ext>
            </a:extLst>
          </p:cNvPr>
          <p:cNvPicPr>
            <a:picLocks noChangeAspect="1"/>
          </p:cNvPicPr>
          <p:nvPr/>
        </p:nvPicPr>
        <p:blipFill rotWithShape="1">
          <a:blip r:embed="rId1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61" t="25662" r="8056" b="25662"/>
          <a:stretch/>
        </p:blipFill>
        <p:spPr>
          <a:xfrm>
            <a:off x="5879465" y="1532386"/>
            <a:ext cx="1273175" cy="336618"/>
          </a:xfrm>
          <a:prstGeom prst="rect">
            <a:avLst/>
          </a:prstGeom>
        </p:spPr>
      </p:pic>
      <p:pic>
        <p:nvPicPr>
          <p:cNvPr id="303" name="Picture 302" descr="A picture containing text, clock&#10;&#10;Description automatically generated">
            <a:extLst>
              <a:ext uri="{FF2B5EF4-FFF2-40B4-BE49-F238E27FC236}">
                <a16:creationId xmlns:a16="http://schemas.microsoft.com/office/drawing/2014/main" id="{EB1C12FF-474D-49FC-B031-1583E4433A9F}"/>
              </a:ext>
            </a:extLst>
          </p:cNvPr>
          <p:cNvPicPr>
            <a:picLocks noChangeAspect="1"/>
          </p:cNvPicPr>
          <p:nvPr/>
        </p:nvPicPr>
        <p:blipFill>
          <a:blip r:embed="rId1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4646" y="1571626"/>
            <a:ext cx="1040119" cy="265116"/>
          </a:xfrm>
          <a:prstGeom prst="rect">
            <a:avLst/>
          </a:prstGeom>
        </p:spPr>
      </p:pic>
      <p:pic>
        <p:nvPicPr>
          <p:cNvPr id="304" name="Picture 303" descr="A picture containing icon&#10;&#10;Description automatically generated">
            <a:extLst>
              <a:ext uri="{FF2B5EF4-FFF2-40B4-BE49-F238E27FC236}">
                <a16:creationId xmlns:a16="http://schemas.microsoft.com/office/drawing/2014/main" id="{CE478438-3C11-4FB9-A7A5-199C18CBD918}"/>
              </a:ext>
            </a:extLst>
          </p:cNvPr>
          <p:cNvPicPr>
            <a:picLocks noChangeAspect="1"/>
          </p:cNvPicPr>
          <p:nvPr/>
        </p:nvPicPr>
        <p:blipFill>
          <a:blip r:embed="rId1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4761" y="1601892"/>
            <a:ext cx="1016077" cy="210386"/>
          </a:xfrm>
          <a:prstGeom prst="rect">
            <a:avLst/>
          </a:prstGeom>
        </p:spPr>
      </p:pic>
      <p:graphicFrame>
        <p:nvGraphicFramePr>
          <p:cNvPr id="444" name="Chart 443">
            <a:extLst>
              <a:ext uri="{FF2B5EF4-FFF2-40B4-BE49-F238E27FC236}">
                <a16:creationId xmlns:a16="http://schemas.microsoft.com/office/drawing/2014/main" id="{348E32EC-EAAC-4283-BB1E-6A19A80F0386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4565178"/>
              </p:ext>
            </p:extLst>
          </p:nvPr>
        </p:nvGraphicFramePr>
        <p:xfrm>
          <a:off x="2166938" y="1851025"/>
          <a:ext cx="1703387" cy="4464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9"/>
          </a:graphicData>
        </a:graphic>
      </p:graphicFrame>
      <p:cxnSp>
        <p:nvCxnSpPr>
          <p:cNvPr id="309" name="Straight Connector 308">
            <a:extLst>
              <a:ext uri="{FF2B5EF4-FFF2-40B4-BE49-F238E27FC236}">
                <a16:creationId xmlns:a16="http://schemas.microsoft.com/office/drawing/2014/main" id="{E3641AA6-3F6E-4E3F-B5F9-E4176668AAEC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H="1">
            <a:off x="2303463" y="5213350"/>
            <a:ext cx="793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6" name="Straight Connector 305">
            <a:extLst>
              <a:ext uri="{FF2B5EF4-FFF2-40B4-BE49-F238E27FC236}">
                <a16:creationId xmlns:a16="http://schemas.microsoft.com/office/drawing/2014/main" id="{0B9E0464-ED84-4DEC-A683-DCD3DC97E1FE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H="1">
            <a:off x="2344738" y="4760913"/>
            <a:ext cx="1016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8" name="Straight Connector 307">
            <a:extLst>
              <a:ext uri="{FF2B5EF4-FFF2-40B4-BE49-F238E27FC236}">
                <a16:creationId xmlns:a16="http://schemas.microsoft.com/office/drawing/2014/main" id="{39E10396-DDC8-4A80-BA16-D9DE1366D0C0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H="1">
            <a:off x="2317750" y="4986338"/>
            <a:ext cx="936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0" name="Straight Connector 309">
            <a:extLst>
              <a:ext uri="{FF2B5EF4-FFF2-40B4-BE49-F238E27FC236}">
                <a16:creationId xmlns:a16="http://schemas.microsoft.com/office/drawing/2014/main" id="{FDA2786C-5111-42CA-9C06-5AD3B02EC6CC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H="1">
            <a:off x="2301874" y="5438775"/>
            <a:ext cx="777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1" name="Straight Connector 310">
            <a:extLst>
              <a:ext uri="{FF2B5EF4-FFF2-40B4-BE49-F238E27FC236}">
                <a16:creationId xmlns:a16="http://schemas.microsoft.com/office/drawing/2014/main" id="{D0153FB9-829A-4F45-A54C-D3DB6E4CFFD9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 flipH="1">
            <a:off x="2295525" y="5665788"/>
            <a:ext cx="7143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2" name="Straight Connector 311">
            <a:extLst>
              <a:ext uri="{FF2B5EF4-FFF2-40B4-BE49-F238E27FC236}">
                <a16:creationId xmlns:a16="http://schemas.microsoft.com/office/drawing/2014/main" id="{00205B2F-DE40-4420-A155-3D5A25203DF0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 flipH="1">
            <a:off x="2295525" y="5891213"/>
            <a:ext cx="698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3" name="Straight Connector 312">
            <a:extLst>
              <a:ext uri="{FF2B5EF4-FFF2-40B4-BE49-F238E27FC236}">
                <a16:creationId xmlns:a16="http://schemas.microsoft.com/office/drawing/2014/main" id="{84522A7C-6CB1-4B4B-8256-33360025C429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 flipH="1">
            <a:off x="2295525" y="6118225"/>
            <a:ext cx="698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9" name="Text Placeholder 20">
            <a:extLst>
              <a:ext uri="{FF2B5EF4-FFF2-40B4-BE49-F238E27FC236}">
                <a16:creationId xmlns:a16="http://schemas.microsoft.com/office/drawing/2014/main" id="{90CC62EC-255D-4177-8327-B0B9D7CB3F8C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2855913" y="1992313"/>
            <a:ext cx="32543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  <a:defRPr/>
            </a:pPr>
            <a:fld id="{C5C0378F-81CA-46AE-9F1E-12C324790F9F}" type="datetime'2''.''''''''6''''''''''''''''''4''4'''''''''''''">
              <a:rPr lang="en-US" altLang="en-US" sz="800" smtClean="0">
                <a:solidFill>
                  <a:srgbClr val="FFFFFF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  <a:defRPr/>
              </a:pPr>
              <a:t>2.644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18" name="Text Placeholder 20">
            <a:extLst>
              <a:ext uri="{FF2B5EF4-FFF2-40B4-BE49-F238E27FC236}">
                <a16:creationId xmlns:a16="http://schemas.microsoft.com/office/drawing/2014/main" id="{180EFFBF-645B-4683-A949-E40D445B89A6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552575" y="5618163"/>
            <a:ext cx="636588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SzPct val="100000"/>
              <a:buNone/>
              <a:defRPr/>
            </a:pPr>
            <a:fld id="{86012F5D-8C8A-4C21-AE6B-1394DE5AF590}" type="datetime'EL''E''''''C''''T''''''''RO''N''''I''''''''''''''CS'''''">
              <a:rPr lang="en-US" altLang="en-US" sz="700" smtClean="0">
                <a:solidFill>
                  <a:srgbClr val="000000"/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SzPct val="100000"/>
                <a:buNone/>
                <a:defRPr/>
              </a:pPr>
              <a:t>ELECTRONIC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17" name="Text Placeholder 20">
            <a:extLst>
              <a:ext uri="{FF2B5EF4-FFF2-40B4-BE49-F238E27FC236}">
                <a16:creationId xmlns:a16="http://schemas.microsoft.com/office/drawing/2014/main" id="{C7626D18-A48F-46A8-AA19-0F95B186CE79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520825" y="1998663"/>
            <a:ext cx="668338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SzPct val="100000"/>
              <a:buNone/>
              <a:defRPr/>
            </a:pPr>
            <a:fld id="{C18DF541-0C22-4619-85EC-3F4251AF55AE}" type="datetime'H''''''''O''''M''E'''' ''''''''''''''T''''EX''T''''ILE'''''''">
              <a:rPr lang="en-US" altLang="en-US" sz="700" smtClean="0">
                <a:solidFill>
                  <a:srgbClr val="000000"/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SzPct val="100000"/>
                <a:buNone/>
                <a:defRPr/>
              </a:pPr>
              <a:t>HOME TEXTILE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23" name="Text Placeholder 20">
            <a:extLst>
              <a:ext uri="{FF2B5EF4-FFF2-40B4-BE49-F238E27FC236}">
                <a16:creationId xmlns:a16="http://schemas.microsoft.com/office/drawing/2014/main" id="{4DEFC946-140E-4A50-924B-F535E3580F7E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089025" y="2224088"/>
            <a:ext cx="1100138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SzPct val="100000"/>
              <a:buNone/>
              <a:defRPr/>
            </a:pPr>
            <a:fld id="{26E460C3-1B35-4792-A045-85EF3A310425}" type="datetime'H''OUS''''''E''HOLD ''''P''''ROD''U''''''''C''''TS'''">
              <a:rPr lang="en-US" altLang="en-US" sz="700" smtClean="0">
                <a:solidFill>
                  <a:srgbClr val="000000"/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SzPct val="100000"/>
                <a:buNone/>
                <a:defRPr/>
              </a:pPr>
              <a:t>HOUSEHOLD PRODUCT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22" name="Text Placeholder 20">
            <a:extLst>
              <a:ext uri="{FF2B5EF4-FFF2-40B4-BE49-F238E27FC236}">
                <a16:creationId xmlns:a16="http://schemas.microsoft.com/office/drawing/2014/main" id="{C2BD8AE1-51BE-4F9B-A7AC-7B54B435511F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562225" y="2217738"/>
            <a:ext cx="32543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  <a:defRPr/>
            </a:pPr>
            <a:fld id="{5F4F4946-195D-44B5-AD5B-D864F044169D}" type="datetime'''''''1''.''''''''''''''''6''''''''''''''3''''''''5'">
              <a:rPr lang="en-US" altLang="en-US" sz="800" smtClean="0">
                <a:solidFill>
                  <a:srgbClr val="FFFFFF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  <a:defRPr/>
              </a:pPr>
              <a:t>1.635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21" name="Text Placeholder 20">
            <a:extLst>
              <a:ext uri="{FF2B5EF4-FFF2-40B4-BE49-F238E27FC236}">
                <a16:creationId xmlns:a16="http://schemas.microsoft.com/office/drawing/2014/main" id="{A4EA6211-A7E5-4A89-B2B0-F332880A5EC9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2487613" y="2444750"/>
            <a:ext cx="32543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  <a:defRPr/>
            </a:pPr>
            <a:fld id="{7D038DA9-B623-4CFF-BE7D-412F5B5085FD}" type="datetime'''''''''''''''''''''''1''''''''.''''''''''''''3''7''5'''''''''">
              <a:rPr lang="en-US" altLang="en-US" sz="800" smtClean="0">
                <a:solidFill>
                  <a:srgbClr val="FFFFFF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  <a:defRPr/>
              </a:pPr>
              <a:t>1.375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15" name="Text Placeholder 20">
            <a:extLst>
              <a:ext uri="{FF2B5EF4-FFF2-40B4-BE49-F238E27FC236}">
                <a16:creationId xmlns:a16="http://schemas.microsoft.com/office/drawing/2014/main" id="{71B9E176-AA30-43C6-957C-A417A20CD2CF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955675" y="2451100"/>
            <a:ext cx="1233488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SzPct val="100000"/>
              <a:buNone/>
              <a:defRPr/>
            </a:pPr>
            <a:fld id="{BC6BFF9D-6A00-4E79-B5CC-6ACAF993CCCF}" type="datetime'''PARTY'''' ''''S''UPP''L''''''''I''E''''S &amp;'''''''' CRAF''TS'">
              <a:rPr lang="en-US" altLang="en-US" sz="700" smtClean="0">
                <a:solidFill>
                  <a:srgbClr val="000000"/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SzPct val="100000"/>
                <a:buNone/>
                <a:defRPr/>
              </a:pPr>
              <a:t>PARTY SUPPLIES &amp; CRAFT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24" name="Text Placeholder 20">
            <a:extLst>
              <a:ext uri="{FF2B5EF4-FFF2-40B4-BE49-F238E27FC236}">
                <a16:creationId xmlns:a16="http://schemas.microsoft.com/office/drawing/2014/main" id="{4BFF38E6-A4B5-4085-84D5-8E395276888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482850" y="2670175"/>
            <a:ext cx="32543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  <a:defRPr/>
            </a:pPr>
            <a:fld id="{BB34E84F-4409-4F23-8CF3-A55A89F74119}" type="datetime'1''''''''''.''''''''3''''''''''''''''''''''''''''''''''6''''2'">
              <a:rPr lang="en-US" altLang="en-US" sz="800" smtClean="0">
                <a:solidFill>
                  <a:srgbClr val="FFFFFF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  <a:defRPr/>
              </a:pPr>
              <a:t>1.362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25" name="Text Placeholder 20">
            <a:extLst>
              <a:ext uri="{FF2B5EF4-FFF2-40B4-BE49-F238E27FC236}">
                <a16:creationId xmlns:a16="http://schemas.microsoft.com/office/drawing/2014/main" id="{5590D948-6685-4DE5-B2C6-EB16B32D997D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606550" y="2676525"/>
            <a:ext cx="582613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SzPct val="100000"/>
              <a:buNone/>
              <a:defRPr/>
            </a:pPr>
            <a:fld id="{260F698A-636C-4C74-B6CA-EFEA13A198CD}" type="datetime'''''''''''''U''NDER''''''''''''W''E''''''''A''''''''''''''R'''">
              <a:rPr lang="en-US" altLang="en-US" sz="700" smtClean="0">
                <a:solidFill>
                  <a:srgbClr val="000000"/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SzPct val="100000"/>
                <a:buNone/>
                <a:defRPr/>
              </a:pPr>
              <a:t>UNDERWEAR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26" name="Text Placeholder 20">
            <a:extLst>
              <a:ext uri="{FF2B5EF4-FFF2-40B4-BE49-F238E27FC236}">
                <a16:creationId xmlns:a16="http://schemas.microsoft.com/office/drawing/2014/main" id="{8F208BF6-955D-4431-9AEE-B6BA7D125BD0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2389188" y="2897188"/>
            <a:ext cx="32543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  <a:defRPr/>
            </a:pPr>
            <a:fld id="{4E4980BF-8BF3-4046-BE11-F777A11384B4}" type="datetime'''''''''1''.''''''03''''''''''9'''''''''''''">
              <a:rPr lang="en-US" altLang="en-US" sz="800" smtClean="0">
                <a:solidFill>
                  <a:srgbClr val="FFFFFF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  <a:defRPr/>
              </a:pPr>
              <a:t>1.039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27" name="Text Placeholder 20">
            <a:extLst>
              <a:ext uri="{FF2B5EF4-FFF2-40B4-BE49-F238E27FC236}">
                <a16:creationId xmlns:a16="http://schemas.microsoft.com/office/drawing/2014/main" id="{D47A7EB3-386E-48B0-9A27-C22D18E73781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309688" y="2903538"/>
            <a:ext cx="879475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SzPct val="100000"/>
              <a:buNone/>
              <a:defRPr/>
            </a:pPr>
            <a:fld id="{2BBA746D-C13F-4E28-B3DA-614CD79EBF87}" type="datetime'''''HOSIER''''''''''Y &amp; TI''''''''''''GH''''''''''''''TS'''''">
              <a:rPr lang="en-US" altLang="en-US" sz="700" smtClean="0">
                <a:solidFill>
                  <a:srgbClr val="000000"/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SzPct val="100000"/>
                <a:buNone/>
                <a:defRPr/>
              </a:pPr>
              <a:t>HOSIERY &amp; TIGHT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37" name="Text Placeholder 20">
            <a:extLst>
              <a:ext uri="{FF2B5EF4-FFF2-40B4-BE49-F238E27FC236}">
                <a16:creationId xmlns:a16="http://schemas.microsoft.com/office/drawing/2014/main" id="{BB9767B8-68D0-40D9-9EB0-5E2927D6D6C0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500188" y="6070600"/>
            <a:ext cx="688975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SzPct val="100000"/>
              <a:buNone/>
              <a:defRPr/>
            </a:pPr>
            <a:fld id="{06F76F14-B9EB-40E5-B6FA-105F8544B6D0}" type="datetime'''''''D''IY'''''''''''' P''R''''O''''''''DU''''''CT''''''S'">
              <a:rPr lang="en-US" altLang="en-US" sz="700" smtClean="0">
                <a:solidFill>
                  <a:srgbClr val="000000"/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SzPct val="100000"/>
                <a:buNone/>
                <a:defRPr/>
              </a:pPr>
              <a:t>DIY PRODUCT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29" name="Text Placeholder 20">
            <a:extLst>
              <a:ext uri="{FF2B5EF4-FFF2-40B4-BE49-F238E27FC236}">
                <a16:creationId xmlns:a16="http://schemas.microsoft.com/office/drawing/2014/main" id="{BDBF838C-E1C2-424C-83B7-57E75BD9F90D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892175" y="3808413"/>
            <a:ext cx="1296988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SzPct val="100000"/>
              <a:buNone/>
              <a:defRPr/>
            </a:pPr>
            <a:fld id="{8F2C3FD6-983E-4BC1-846C-6BF194AFC50D}" type="datetime'EN''T''E''RTAIN''''''ME''''''''NT'' PRODUC''T''''S'''">
              <a:rPr lang="en-US" altLang="en-US" sz="700" smtClean="0">
                <a:solidFill>
                  <a:srgbClr val="000000"/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SzPct val="100000"/>
                <a:buNone/>
                <a:defRPr/>
              </a:pPr>
              <a:t>ENTERTAINMENT PRODUCT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28" name="Text Placeholder 20">
            <a:extLst>
              <a:ext uri="{FF2B5EF4-FFF2-40B4-BE49-F238E27FC236}">
                <a16:creationId xmlns:a16="http://schemas.microsoft.com/office/drawing/2014/main" id="{B35D3BF2-DB30-4005-B68D-59CB85FBA354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712913" y="3128963"/>
            <a:ext cx="476250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SzPct val="100000"/>
              <a:buNone/>
              <a:defRPr/>
            </a:pPr>
            <a:fld id="{7DDB8D7E-876C-46EA-B878-E875FE0A20B4}" type="datetime'''C''L''''''''''O''''''T''''''''''H''''I''''''''''N''G'''''''">
              <a:rPr lang="en-US" altLang="en-US" sz="700" smtClean="0">
                <a:solidFill>
                  <a:srgbClr val="000000"/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SzPct val="100000"/>
                <a:buNone/>
                <a:defRPr/>
              </a:pPr>
              <a:t>CLOTHING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20" name="Text Placeholder 20">
            <a:extLst>
              <a:ext uri="{FF2B5EF4-FFF2-40B4-BE49-F238E27FC236}">
                <a16:creationId xmlns:a16="http://schemas.microsoft.com/office/drawing/2014/main" id="{B3690ACA-C363-4D41-AF31-D0C909113651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1677988" y="3355975"/>
            <a:ext cx="511175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SzPct val="100000"/>
              <a:buNone/>
              <a:defRPr/>
            </a:pPr>
            <a:fld id="{113CCF2A-F522-48E2-8C71-2D6AC0CF20D6}" type="datetime'''''''F''''O''O''''''''''T''''''''''W''''''''''E''''A''''R'''">
              <a:rPr lang="en-US" altLang="en-US" sz="700" smtClean="0">
                <a:solidFill>
                  <a:srgbClr val="000000"/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SzPct val="100000"/>
                <a:buNone/>
                <a:defRPr/>
              </a:pPr>
              <a:t>FOOTWEAR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16" name="Text Placeholder 20">
            <a:extLst>
              <a:ext uri="{FF2B5EF4-FFF2-40B4-BE49-F238E27FC236}">
                <a16:creationId xmlns:a16="http://schemas.microsoft.com/office/drawing/2014/main" id="{2AA90727-2C85-4267-9740-C10D7710E0E5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543050" y="3581400"/>
            <a:ext cx="646113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SzPct val="100000"/>
              <a:buNone/>
              <a:defRPr/>
            </a:pPr>
            <a:fld id="{4032F37B-203F-4DCF-A9FB-A3BEBE47A1A9}" type="datetime'''''''AC''''''''C''''E''''S''''S''O''R''I''''''''E''''S'''''">
              <a:rPr lang="en-US" altLang="en-US" sz="700" smtClean="0">
                <a:solidFill>
                  <a:srgbClr val="000000"/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SzPct val="100000"/>
                <a:buNone/>
                <a:defRPr/>
              </a:pPr>
              <a:t>ACCESSORIE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30" name="Text Placeholder 20">
            <a:extLst>
              <a:ext uri="{FF2B5EF4-FFF2-40B4-BE49-F238E27FC236}">
                <a16:creationId xmlns:a16="http://schemas.microsoft.com/office/drawing/2014/main" id="{B9CC880F-A154-4A25-97BB-57998C875166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377950" y="4033838"/>
            <a:ext cx="811213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SzPct val="100000"/>
              <a:buNone/>
              <a:defRPr/>
            </a:pPr>
            <a:fld id="{C1EC6BA3-0022-4ECF-B99F-A71726DD86FE}" type="datetime'''G''''OO''''D''''''S F''''''O''''''''R'''' K''''I''DS'">
              <a:rPr lang="en-US" altLang="en-US" sz="700" smtClean="0">
                <a:solidFill>
                  <a:srgbClr val="000000"/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SzPct val="100000"/>
                <a:buNone/>
                <a:defRPr/>
              </a:pPr>
              <a:t>GOODS FOR KID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31" name="Text Placeholder 20">
            <a:extLst>
              <a:ext uri="{FF2B5EF4-FFF2-40B4-BE49-F238E27FC236}">
                <a16:creationId xmlns:a16="http://schemas.microsoft.com/office/drawing/2014/main" id="{019C05A7-72EE-408B-A56D-FB21E810C896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1082675" y="4260850"/>
            <a:ext cx="1106488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SzPct val="100000"/>
              <a:buNone/>
              <a:defRPr/>
            </a:pPr>
            <a:fld id="{B1A05A76-D8C3-4976-9677-703DAF766B17}" type="datetime'''STATI''ONER''''Y'''''''' ''''''P''''''''''''R''O''''DU''CTS'">
              <a:rPr lang="en-US" altLang="en-US" sz="700" smtClean="0">
                <a:solidFill>
                  <a:srgbClr val="000000"/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SzPct val="100000"/>
                <a:buNone/>
                <a:defRPr/>
              </a:pPr>
              <a:t>STATIONERY PRODUCT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34" name="Text Placeholder 20">
            <a:extLst>
              <a:ext uri="{FF2B5EF4-FFF2-40B4-BE49-F238E27FC236}">
                <a16:creationId xmlns:a16="http://schemas.microsoft.com/office/drawing/2014/main" id="{99C0C1C2-3627-4FC4-A234-534A53D1FF21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374775" y="4938713"/>
            <a:ext cx="814388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SzPct val="100000"/>
              <a:buNone/>
              <a:defRPr/>
            </a:pPr>
            <a:fld id="{208BCA3B-B9C2-4712-885E-5AB3E0BEFB4F}" type="datetime'GAR''''''DE''''N'' ''''''''''''''''''&amp;'''' TO''OL''''''S'''">
              <a:rPr lang="en-US" altLang="en-US" sz="700" smtClean="0">
                <a:solidFill>
                  <a:srgbClr val="000000"/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SzPct val="100000"/>
                <a:buNone/>
                <a:defRPr/>
              </a:pPr>
              <a:t>GARDEN &amp; TOOL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32" name="Text Placeholder 20">
            <a:extLst>
              <a:ext uri="{FF2B5EF4-FFF2-40B4-BE49-F238E27FC236}">
                <a16:creationId xmlns:a16="http://schemas.microsoft.com/office/drawing/2014/main" id="{BEE618A0-64AE-4E1E-A577-BED0D753C6EC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1458913" y="4486275"/>
            <a:ext cx="730250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SzPct val="100000"/>
              <a:buNone/>
              <a:defRPr/>
            </a:pPr>
            <a:fld id="{2A66F091-EA7E-4588-BCC9-86CA8588CF6E}" type="datetime'SP''''''O''R''''''''''''''''''''''T''S'''''' ''GOOD''''''''S'">
              <a:rPr lang="en-US" altLang="en-US" sz="700" smtClean="0">
                <a:solidFill>
                  <a:srgbClr val="000000"/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SzPct val="100000"/>
                <a:buNone/>
                <a:defRPr/>
              </a:pPr>
              <a:t>SPORTS GOOD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33" name="Text Placeholder 20">
            <a:extLst>
              <a:ext uri="{FF2B5EF4-FFF2-40B4-BE49-F238E27FC236}">
                <a16:creationId xmlns:a16="http://schemas.microsoft.com/office/drawing/2014/main" id="{43F7235E-4348-4A56-9AA4-96E78E340F33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1379538" y="4713288"/>
            <a:ext cx="809625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SzPct val="100000"/>
              <a:buNone/>
              <a:defRPr/>
            </a:pPr>
            <a:fld id="{1E9B666E-CFF5-4B78-9B5A-267DFBF1A480}" type="datetime'''''''T''''''''''''''OU''''''R''IS''M, ''''''''P''IC''NIC'">
              <a:rPr lang="en-US" altLang="en-US" sz="700" smtClean="0">
                <a:solidFill>
                  <a:srgbClr val="000000"/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SzPct val="100000"/>
                <a:buNone/>
                <a:defRPr/>
              </a:pPr>
              <a:t>TOURISM, PICNIC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35" name="Text Placeholder 20">
            <a:extLst>
              <a:ext uri="{FF2B5EF4-FFF2-40B4-BE49-F238E27FC236}">
                <a16:creationId xmlns:a16="http://schemas.microsoft.com/office/drawing/2014/main" id="{0841E57B-2FB1-4E2B-9E2B-9F768D05C625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1041400" y="5165725"/>
            <a:ext cx="1147763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SzPct val="100000"/>
              <a:buNone/>
              <a:defRPr/>
            </a:pPr>
            <a:fld id="{4D0CBA56-915A-4B46-A280-8B098EABDFCE}" type="datetime'B''''''''A''''T''H, ''SAUN''A P''''''RODU''C''''''''T''''S'''">
              <a:rPr lang="en-US" altLang="en-US" sz="700" smtClean="0">
                <a:solidFill>
                  <a:srgbClr val="000000"/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SzPct val="100000"/>
                <a:buNone/>
                <a:defRPr/>
              </a:pPr>
              <a:t>BATH, SAUNA PRODUCT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36" name="Text Placeholder 20">
            <a:extLst>
              <a:ext uri="{FF2B5EF4-FFF2-40B4-BE49-F238E27FC236}">
                <a16:creationId xmlns:a16="http://schemas.microsoft.com/office/drawing/2014/main" id="{F509674E-B722-4B02-B554-A09B058A27F1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1216025" y="5391150"/>
            <a:ext cx="973138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SzPct val="100000"/>
              <a:buNone/>
              <a:defRPr/>
            </a:pPr>
            <a:fld id="{FCBEB3C8-771A-427E-A431-8BBDA0ED4FA4}" type="datetime'AU''''T''O''M''''''O''TIVE'' G''O''O''''''D''''''''S'''''''''">
              <a:rPr lang="en-US" altLang="en-US" sz="700" smtClean="0">
                <a:solidFill>
                  <a:srgbClr val="000000"/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SzPct val="100000"/>
                <a:buNone/>
                <a:defRPr/>
              </a:pPr>
              <a:t>AUTOMOTIVE GOOD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14" name="Text Placeholder 20">
            <a:extLst>
              <a:ext uri="{FF2B5EF4-FFF2-40B4-BE49-F238E27FC236}">
                <a16:creationId xmlns:a16="http://schemas.microsoft.com/office/drawing/2014/main" id="{0B3E7ABF-DD11-495F-A251-DFE02DC5B8F1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1025525" y="5843588"/>
            <a:ext cx="1163638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SzPct val="100000"/>
              <a:buNone/>
              <a:defRPr/>
            </a:pPr>
            <a:fld id="{E4E1DA39-4712-4EA1-A7EB-A5E3AAA24ADE}" type="datetime'H''O''U''''''''S''''EHOL''D A''PPLI''''''A''NC''''''E''S'''''">
              <a:rPr lang="en-US" altLang="en-US" sz="700" smtClean="0">
                <a:solidFill>
                  <a:srgbClr val="000000"/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SzPct val="100000"/>
                <a:buNone/>
                <a:defRPr/>
              </a:pPr>
              <a:t>HOUSEHOLD APPLIANCES</a:t>
            </a:fld>
            <a:endParaRPr kumimoji="0" lang="ru-RU" sz="7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graphicFrame>
        <p:nvGraphicFramePr>
          <p:cNvPr id="439" name="Chart 438">
            <a:extLst>
              <a:ext uri="{FF2B5EF4-FFF2-40B4-BE49-F238E27FC236}">
                <a16:creationId xmlns:a16="http://schemas.microsoft.com/office/drawing/2014/main" id="{EA6F740F-676D-4760-8052-78EC809E1530}"/>
              </a:ext>
            </a:extLst>
          </p:cNvPr>
          <p:cNvGraphicFramePr/>
          <p:nvPr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458990852"/>
              </p:ext>
            </p:extLst>
          </p:nvPr>
        </p:nvGraphicFramePr>
        <p:xfrm>
          <a:off x="3989388" y="1851025"/>
          <a:ext cx="1500187" cy="4464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0"/>
          </a:graphicData>
        </a:graphic>
      </p:graphicFrame>
      <p:cxnSp>
        <p:nvCxnSpPr>
          <p:cNvPr id="353" name="Straight Connector 352">
            <a:extLst>
              <a:ext uri="{FF2B5EF4-FFF2-40B4-BE49-F238E27FC236}">
                <a16:creationId xmlns:a16="http://schemas.microsoft.com/office/drawing/2014/main" id="{E7762C8F-F2A2-4934-9D19-50151B6A205B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 flipH="1">
            <a:off x="4111625" y="5891213"/>
            <a:ext cx="301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1" name="Straight Connector 340">
            <a:extLst>
              <a:ext uri="{FF2B5EF4-FFF2-40B4-BE49-F238E27FC236}">
                <a16:creationId xmlns:a16="http://schemas.microsoft.com/office/drawing/2014/main" id="{CFA470BE-6786-412E-A492-4A2A87CBE0CB}"/>
              </a:ext>
            </a:extLst>
          </p:cNvPr>
          <p:cNvCxnSpPr/>
          <p:nvPr>
            <p:custDataLst>
              <p:tags r:id="rId36"/>
            </p:custDataLst>
          </p:nvPr>
        </p:nvCxnSpPr>
        <p:spPr bwMode="auto">
          <a:xfrm flipH="1">
            <a:off x="4178300" y="2498725"/>
            <a:ext cx="9683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2" name="Straight Connector 341">
            <a:extLst>
              <a:ext uri="{FF2B5EF4-FFF2-40B4-BE49-F238E27FC236}">
                <a16:creationId xmlns:a16="http://schemas.microsoft.com/office/drawing/2014/main" id="{3D8D24F3-6E71-4606-A9EA-FE01E0D3DBA6}"/>
              </a:ext>
            </a:extLst>
          </p:cNvPr>
          <p:cNvCxnSpPr/>
          <p:nvPr>
            <p:custDataLst>
              <p:tags r:id="rId37"/>
            </p:custDataLst>
          </p:nvPr>
        </p:nvCxnSpPr>
        <p:spPr bwMode="auto">
          <a:xfrm flipH="1">
            <a:off x="4144963" y="3629025"/>
            <a:ext cx="635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3" name="Straight Connector 342">
            <a:extLst>
              <a:ext uri="{FF2B5EF4-FFF2-40B4-BE49-F238E27FC236}">
                <a16:creationId xmlns:a16="http://schemas.microsoft.com/office/drawing/2014/main" id="{48E60CCB-2565-4AF7-86C1-30665D611C02}"/>
              </a:ext>
            </a:extLst>
          </p:cNvPr>
          <p:cNvCxnSpPr/>
          <p:nvPr>
            <p:custDataLst>
              <p:tags r:id="rId38"/>
            </p:custDataLst>
          </p:nvPr>
        </p:nvCxnSpPr>
        <p:spPr bwMode="auto">
          <a:xfrm flipH="1">
            <a:off x="4181475" y="2951163"/>
            <a:ext cx="984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4" name="Straight Connector 353">
            <a:extLst>
              <a:ext uri="{FF2B5EF4-FFF2-40B4-BE49-F238E27FC236}">
                <a16:creationId xmlns:a16="http://schemas.microsoft.com/office/drawing/2014/main" id="{8BAAB3A3-37D9-47E3-A508-88A0C14EBEBC}"/>
              </a:ext>
            </a:extLst>
          </p:cNvPr>
          <p:cNvCxnSpPr/>
          <p:nvPr>
            <p:custDataLst>
              <p:tags r:id="rId39"/>
            </p:custDataLst>
          </p:nvPr>
        </p:nvCxnSpPr>
        <p:spPr bwMode="auto">
          <a:xfrm flipH="1">
            <a:off x="4117975" y="6118225"/>
            <a:ext cx="3651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9" name="Straight Connector 338">
            <a:extLst>
              <a:ext uri="{FF2B5EF4-FFF2-40B4-BE49-F238E27FC236}">
                <a16:creationId xmlns:a16="http://schemas.microsoft.com/office/drawing/2014/main" id="{E555B964-4F1D-4496-B745-40F2848C1241}"/>
              </a:ext>
            </a:extLst>
          </p:cNvPr>
          <p:cNvCxnSpPr/>
          <p:nvPr>
            <p:custDataLst>
              <p:tags r:id="rId40"/>
            </p:custDataLst>
          </p:nvPr>
        </p:nvCxnSpPr>
        <p:spPr bwMode="auto">
          <a:xfrm flipH="1">
            <a:off x="4143375" y="3176588"/>
            <a:ext cx="6191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4" name="Straight Connector 343">
            <a:extLst>
              <a:ext uri="{FF2B5EF4-FFF2-40B4-BE49-F238E27FC236}">
                <a16:creationId xmlns:a16="http://schemas.microsoft.com/office/drawing/2014/main" id="{BC6F5470-E712-495F-AEA6-3C9E2A42AB6E}"/>
              </a:ext>
            </a:extLst>
          </p:cNvPr>
          <p:cNvCxnSpPr/>
          <p:nvPr>
            <p:custDataLst>
              <p:tags r:id="rId41"/>
            </p:custDataLst>
          </p:nvPr>
        </p:nvCxnSpPr>
        <p:spPr bwMode="auto">
          <a:xfrm flipH="1">
            <a:off x="4200525" y="3403600"/>
            <a:ext cx="1016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0" name="Straight Connector 339">
            <a:extLst>
              <a:ext uri="{FF2B5EF4-FFF2-40B4-BE49-F238E27FC236}">
                <a16:creationId xmlns:a16="http://schemas.microsoft.com/office/drawing/2014/main" id="{5791F8E2-157B-4E4D-868A-7A54808300FE}"/>
              </a:ext>
            </a:extLst>
          </p:cNvPr>
          <p:cNvCxnSpPr/>
          <p:nvPr>
            <p:custDataLst>
              <p:tags r:id="rId42"/>
            </p:custDataLst>
          </p:nvPr>
        </p:nvCxnSpPr>
        <p:spPr bwMode="auto">
          <a:xfrm flipH="1">
            <a:off x="4110038" y="3856038"/>
            <a:ext cx="285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5" name="Straight Connector 344">
            <a:extLst>
              <a:ext uri="{FF2B5EF4-FFF2-40B4-BE49-F238E27FC236}">
                <a16:creationId xmlns:a16="http://schemas.microsoft.com/office/drawing/2014/main" id="{4FAD487C-47C3-4982-895D-CE80774A2A6F}"/>
              </a:ext>
            </a:extLst>
          </p:cNvPr>
          <p:cNvCxnSpPr/>
          <p:nvPr>
            <p:custDataLst>
              <p:tags r:id="rId43"/>
            </p:custDataLst>
          </p:nvPr>
        </p:nvCxnSpPr>
        <p:spPr bwMode="auto">
          <a:xfrm flipH="1">
            <a:off x="4167188" y="4081463"/>
            <a:ext cx="857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6" name="Straight Connector 345">
            <a:extLst>
              <a:ext uri="{FF2B5EF4-FFF2-40B4-BE49-F238E27FC236}">
                <a16:creationId xmlns:a16="http://schemas.microsoft.com/office/drawing/2014/main" id="{E3D43F44-9C4F-48C1-A407-862D941C27D4}"/>
              </a:ext>
            </a:extLst>
          </p:cNvPr>
          <p:cNvCxnSpPr/>
          <p:nvPr>
            <p:custDataLst>
              <p:tags r:id="rId44"/>
            </p:custDataLst>
          </p:nvPr>
        </p:nvCxnSpPr>
        <p:spPr bwMode="auto">
          <a:xfrm flipH="1">
            <a:off x="4175125" y="4308475"/>
            <a:ext cx="936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7" name="Straight Connector 346">
            <a:extLst>
              <a:ext uri="{FF2B5EF4-FFF2-40B4-BE49-F238E27FC236}">
                <a16:creationId xmlns:a16="http://schemas.microsoft.com/office/drawing/2014/main" id="{C1911AA7-DB35-48F2-BA08-AFDAC32ADA8C}"/>
              </a:ext>
            </a:extLst>
          </p:cNvPr>
          <p:cNvCxnSpPr/>
          <p:nvPr>
            <p:custDataLst>
              <p:tags r:id="rId45"/>
            </p:custDataLst>
          </p:nvPr>
        </p:nvCxnSpPr>
        <p:spPr bwMode="auto">
          <a:xfrm flipH="1">
            <a:off x="4127500" y="4533900"/>
            <a:ext cx="444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9" name="Straight Connector 348">
            <a:extLst>
              <a:ext uri="{FF2B5EF4-FFF2-40B4-BE49-F238E27FC236}">
                <a16:creationId xmlns:a16="http://schemas.microsoft.com/office/drawing/2014/main" id="{5515B015-D3F3-4F6D-82D9-B758EEC4BF1D}"/>
              </a:ext>
            </a:extLst>
          </p:cNvPr>
          <p:cNvCxnSpPr/>
          <p:nvPr>
            <p:custDataLst>
              <p:tags r:id="rId46"/>
            </p:custDataLst>
          </p:nvPr>
        </p:nvCxnSpPr>
        <p:spPr bwMode="auto">
          <a:xfrm flipH="1">
            <a:off x="4106863" y="4986338"/>
            <a:ext cx="254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8" name="Straight Connector 347">
            <a:extLst>
              <a:ext uri="{FF2B5EF4-FFF2-40B4-BE49-F238E27FC236}">
                <a16:creationId xmlns:a16="http://schemas.microsoft.com/office/drawing/2014/main" id="{37CE92F1-5081-4A06-87F8-04B3D8AE94B3}"/>
              </a:ext>
            </a:extLst>
          </p:cNvPr>
          <p:cNvCxnSpPr/>
          <p:nvPr>
            <p:custDataLst>
              <p:tags r:id="rId47"/>
            </p:custDataLst>
          </p:nvPr>
        </p:nvCxnSpPr>
        <p:spPr bwMode="auto">
          <a:xfrm flipH="1">
            <a:off x="4116388" y="4760913"/>
            <a:ext cx="349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0" name="Straight Connector 349">
            <a:extLst>
              <a:ext uri="{FF2B5EF4-FFF2-40B4-BE49-F238E27FC236}">
                <a16:creationId xmlns:a16="http://schemas.microsoft.com/office/drawing/2014/main" id="{0667F10F-A88D-4FD9-A8C3-89A1F8794CDE}"/>
              </a:ext>
            </a:extLst>
          </p:cNvPr>
          <p:cNvCxnSpPr/>
          <p:nvPr>
            <p:custDataLst>
              <p:tags r:id="rId48"/>
            </p:custDataLst>
          </p:nvPr>
        </p:nvCxnSpPr>
        <p:spPr bwMode="auto">
          <a:xfrm flipH="1">
            <a:off x="4119563" y="5213350"/>
            <a:ext cx="3651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1" name="Straight Connector 350">
            <a:extLst>
              <a:ext uri="{FF2B5EF4-FFF2-40B4-BE49-F238E27FC236}">
                <a16:creationId xmlns:a16="http://schemas.microsoft.com/office/drawing/2014/main" id="{D515DDB4-8DAC-4D34-AE84-89A19791BEBA}"/>
              </a:ext>
            </a:extLst>
          </p:cNvPr>
          <p:cNvCxnSpPr/>
          <p:nvPr>
            <p:custDataLst>
              <p:tags r:id="rId49"/>
            </p:custDataLst>
          </p:nvPr>
        </p:nvCxnSpPr>
        <p:spPr bwMode="auto">
          <a:xfrm flipH="1">
            <a:off x="4130675" y="5438775"/>
            <a:ext cx="4921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2" name="Straight Connector 351">
            <a:extLst>
              <a:ext uri="{FF2B5EF4-FFF2-40B4-BE49-F238E27FC236}">
                <a16:creationId xmlns:a16="http://schemas.microsoft.com/office/drawing/2014/main" id="{A8420135-B45F-4603-B50E-055B5C36058D}"/>
              </a:ext>
            </a:extLst>
          </p:cNvPr>
          <p:cNvCxnSpPr/>
          <p:nvPr>
            <p:custDataLst>
              <p:tags r:id="rId50"/>
            </p:custDataLst>
          </p:nvPr>
        </p:nvCxnSpPr>
        <p:spPr bwMode="auto">
          <a:xfrm flipH="1">
            <a:off x="4106863" y="5665788"/>
            <a:ext cx="254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6" name="Text Placeholder 20">
            <a:extLst>
              <a:ext uri="{FF2B5EF4-FFF2-40B4-BE49-F238E27FC236}">
                <a16:creationId xmlns:a16="http://schemas.microsoft.com/office/drawing/2014/main" id="{DB4BBEA1-4FE2-4A3F-B873-F0FC122C1DFD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4386263" y="2217738"/>
            <a:ext cx="32543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  <a:defRPr/>
            </a:pPr>
            <a:fld id="{303AC9DD-C33E-439D-8074-021568049B6B}" type="datetime'''''''''''''1''.''''''''''''''''''5''''8''''''''''2'">
              <a:rPr lang="en-US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  <a:defRPr/>
              </a:pPr>
              <a:t>1.582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55" name="Text Placeholder 20">
            <a:extLst>
              <a:ext uri="{FF2B5EF4-FFF2-40B4-BE49-F238E27FC236}">
                <a16:creationId xmlns:a16="http://schemas.microsoft.com/office/drawing/2014/main" id="{351C988B-082C-4D4F-99C2-D5F6286ACADB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4576763" y="1992313"/>
            <a:ext cx="32543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  <a:defRPr/>
            </a:pPr>
            <a:fld id="{75F79722-C021-4FE0-B792-D633924F0D44}" type="datetime'''''''''2''.''''''''''''2''6''''''''4'''''''''''''''''''''''''">
              <a:rPr lang="en-US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  <a:defRPr/>
              </a:pPr>
              <a:t>2.264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57" name="Text Placeholder 20">
            <a:extLst>
              <a:ext uri="{FF2B5EF4-FFF2-40B4-BE49-F238E27FC236}">
                <a16:creationId xmlns:a16="http://schemas.microsoft.com/office/drawing/2014/main" id="{4B0D8AE4-85E6-42EE-ABE4-13CB85D20EA9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4132263" y="4932363"/>
            <a:ext cx="9366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SzPct val="100000"/>
              <a:buNone/>
              <a:defRPr/>
            </a:pPr>
            <a:fld id="{2F6E033D-CCF8-45FC-9E8C-939E4B3876AF}" type="datetime'''''''''''''0'''''''''''''''">
              <a:rPr lang="en-US" altLang="en-US" sz="800" smtClean="0">
                <a:solidFill>
                  <a:srgbClr val="000000"/>
                </a:solidFill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SzPct val="100000"/>
                <a:buNone/>
                <a:defRPr/>
              </a:pPr>
              <a:t>0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58" name="Text Placeholder 20">
            <a:extLst>
              <a:ext uri="{FF2B5EF4-FFF2-40B4-BE49-F238E27FC236}">
                <a16:creationId xmlns:a16="http://schemas.microsoft.com/office/drawing/2014/main" id="{BF348201-A107-4FAE-82BB-7F1CEFB2103A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4132263" y="5611813"/>
            <a:ext cx="9366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SzPct val="100000"/>
              <a:buNone/>
              <a:defRPr/>
            </a:pPr>
            <a:fld id="{B5512461-3FE8-4B9C-8E80-AB2C955F165E}" type="datetime'0'''''''''''''''''''''''''''''">
              <a:rPr lang="en-US" altLang="en-US" sz="800" smtClean="0">
                <a:solidFill>
                  <a:srgbClr val="000000"/>
                </a:solidFill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SzPct val="100000"/>
                <a:buNone/>
                <a:defRPr/>
              </a:pPr>
              <a:t>0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graphicFrame>
        <p:nvGraphicFramePr>
          <p:cNvPr id="440" name="Chart 439">
            <a:extLst>
              <a:ext uri="{FF2B5EF4-FFF2-40B4-BE49-F238E27FC236}">
                <a16:creationId xmlns:a16="http://schemas.microsoft.com/office/drawing/2014/main" id="{EAA14919-2629-4226-B67D-94DD2951DB21}"/>
              </a:ext>
            </a:extLst>
          </p:cNvPr>
          <p:cNvGraphicFramePr/>
          <p:nvPr>
            <p:custDataLst>
              <p:tags r:id="rId55"/>
            </p:custDataLst>
            <p:extLst>
              <p:ext uri="{D42A27DB-BD31-4B8C-83A1-F6EECF244321}">
                <p14:modId xmlns:p14="http://schemas.microsoft.com/office/powerpoint/2010/main" val="1792816561"/>
              </p:ext>
            </p:extLst>
          </p:nvPr>
        </p:nvGraphicFramePr>
        <p:xfrm>
          <a:off x="5719763" y="1851025"/>
          <a:ext cx="1500187" cy="4464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1"/>
          </a:graphicData>
        </a:graphic>
      </p:graphicFrame>
      <p:cxnSp>
        <p:nvCxnSpPr>
          <p:cNvPr id="363" name="Straight Connector 362">
            <a:extLst>
              <a:ext uri="{FF2B5EF4-FFF2-40B4-BE49-F238E27FC236}">
                <a16:creationId xmlns:a16="http://schemas.microsoft.com/office/drawing/2014/main" id="{FF31FDA6-8CD8-45E3-AA88-8292F01937DC}"/>
              </a:ext>
            </a:extLst>
          </p:cNvPr>
          <p:cNvCxnSpPr/>
          <p:nvPr>
            <p:custDataLst>
              <p:tags r:id="rId56"/>
            </p:custDataLst>
          </p:nvPr>
        </p:nvCxnSpPr>
        <p:spPr bwMode="auto">
          <a:xfrm flipH="1">
            <a:off x="6107113" y="3176588"/>
            <a:ext cx="52387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0" name="Straight Connector 359">
            <a:extLst>
              <a:ext uri="{FF2B5EF4-FFF2-40B4-BE49-F238E27FC236}">
                <a16:creationId xmlns:a16="http://schemas.microsoft.com/office/drawing/2014/main" id="{4E4517B6-3904-4D2F-A4AF-65428E1CA557}"/>
              </a:ext>
            </a:extLst>
          </p:cNvPr>
          <p:cNvCxnSpPr/>
          <p:nvPr>
            <p:custDataLst>
              <p:tags r:id="rId57"/>
            </p:custDataLst>
          </p:nvPr>
        </p:nvCxnSpPr>
        <p:spPr bwMode="auto">
          <a:xfrm flipH="1">
            <a:off x="6115050" y="3403600"/>
            <a:ext cx="603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7" name="Straight Connector 366">
            <a:extLst>
              <a:ext uri="{FF2B5EF4-FFF2-40B4-BE49-F238E27FC236}">
                <a16:creationId xmlns:a16="http://schemas.microsoft.com/office/drawing/2014/main" id="{E6B59EC4-2293-4007-99B9-0345D61A125D}"/>
              </a:ext>
            </a:extLst>
          </p:cNvPr>
          <p:cNvCxnSpPr/>
          <p:nvPr>
            <p:custDataLst>
              <p:tags r:id="rId58"/>
            </p:custDataLst>
          </p:nvPr>
        </p:nvCxnSpPr>
        <p:spPr bwMode="auto">
          <a:xfrm flipH="1">
            <a:off x="6115050" y="4760913"/>
            <a:ext cx="603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2" name="Straight Connector 361">
            <a:extLst>
              <a:ext uri="{FF2B5EF4-FFF2-40B4-BE49-F238E27FC236}">
                <a16:creationId xmlns:a16="http://schemas.microsoft.com/office/drawing/2014/main" id="{FF035C86-299E-43F4-96F2-9A006AE5008A}"/>
              </a:ext>
            </a:extLst>
          </p:cNvPr>
          <p:cNvCxnSpPr/>
          <p:nvPr>
            <p:custDataLst>
              <p:tags r:id="rId59"/>
            </p:custDataLst>
          </p:nvPr>
        </p:nvCxnSpPr>
        <p:spPr bwMode="auto">
          <a:xfrm flipH="1">
            <a:off x="6113463" y="3629025"/>
            <a:ext cx="58737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4" name="Straight Connector 363">
            <a:extLst>
              <a:ext uri="{FF2B5EF4-FFF2-40B4-BE49-F238E27FC236}">
                <a16:creationId xmlns:a16="http://schemas.microsoft.com/office/drawing/2014/main" id="{452AE533-B619-4358-8EF4-905292B9A68E}"/>
              </a:ext>
            </a:extLst>
          </p:cNvPr>
          <p:cNvCxnSpPr/>
          <p:nvPr>
            <p:custDataLst>
              <p:tags r:id="rId60"/>
            </p:custDataLst>
          </p:nvPr>
        </p:nvCxnSpPr>
        <p:spPr bwMode="auto">
          <a:xfrm flipH="1">
            <a:off x="6146800" y="4081463"/>
            <a:ext cx="920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9" name="Straight Connector 368">
            <a:extLst>
              <a:ext uri="{FF2B5EF4-FFF2-40B4-BE49-F238E27FC236}">
                <a16:creationId xmlns:a16="http://schemas.microsoft.com/office/drawing/2014/main" id="{B599C48E-8990-4543-8894-8512FEDA5965}"/>
              </a:ext>
            </a:extLst>
          </p:cNvPr>
          <p:cNvCxnSpPr/>
          <p:nvPr>
            <p:custDataLst>
              <p:tags r:id="rId61"/>
            </p:custDataLst>
          </p:nvPr>
        </p:nvCxnSpPr>
        <p:spPr bwMode="auto">
          <a:xfrm flipH="1">
            <a:off x="6099175" y="5213350"/>
            <a:ext cx="428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1" name="Straight Connector 360">
            <a:extLst>
              <a:ext uri="{FF2B5EF4-FFF2-40B4-BE49-F238E27FC236}">
                <a16:creationId xmlns:a16="http://schemas.microsoft.com/office/drawing/2014/main" id="{8068BCD0-8025-4404-BC3C-720BBB2A1944}"/>
              </a:ext>
            </a:extLst>
          </p:cNvPr>
          <p:cNvCxnSpPr/>
          <p:nvPr>
            <p:custDataLst>
              <p:tags r:id="rId62"/>
            </p:custDataLst>
          </p:nvPr>
        </p:nvCxnSpPr>
        <p:spPr bwMode="auto">
          <a:xfrm flipH="1">
            <a:off x="6088063" y="3856038"/>
            <a:ext cx="33337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6" name="Straight Connector 365">
            <a:extLst>
              <a:ext uri="{FF2B5EF4-FFF2-40B4-BE49-F238E27FC236}">
                <a16:creationId xmlns:a16="http://schemas.microsoft.com/office/drawing/2014/main" id="{C4924B35-077B-4936-819A-7AE8AA059C6E}"/>
              </a:ext>
            </a:extLst>
          </p:cNvPr>
          <p:cNvCxnSpPr/>
          <p:nvPr>
            <p:custDataLst>
              <p:tags r:id="rId63"/>
            </p:custDataLst>
          </p:nvPr>
        </p:nvCxnSpPr>
        <p:spPr bwMode="auto">
          <a:xfrm flipH="1">
            <a:off x="6122988" y="4533900"/>
            <a:ext cx="68262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8" name="Straight Connector 367">
            <a:extLst>
              <a:ext uri="{FF2B5EF4-FFF2-40B4-BE49-F238E27FC236}">
                <a16:creationId xmlns:a16="http://schemas.microsoft.com/office/drawing/2014/main" id="{86440F1D-35E5-4ADB-82DF-51FF2F68E87B}"/>
              </a:ext>
            </a:extLst>
          </p:cNvPr>
          <p:cNvCxnSpPr/>
          <p:nvPr>
            <p:custDataLst>
              <p:tags r:id="rId64"/>
            </p:custDataLst>
          </p:nvPr>
        </p:nvCxnSpPr>
        <p:spPr bwMode="auto">
          <a:xfrm flipH="1">
            <a:off x="6080125" y="4986338"/>
            <a:ext cx="254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0" name="Straight Connector 369">
            <a:extLst>
              <a:ext uri="{FF2B5EF4-FFF2-40B4-BE49-F238E27FC236}">
                <a16:creationId xmlns:a16="http://schemas.microsoft.com/office/drawing/2014/main" id="{6D5E4AFA-FB56-4E4B-BEFC-D22DD761B02D}"/>
              </a:ext>
            </a:extLst>
          </p:cNvPr>
          <p:cNvCxnSpPr/>
          <p:nvPr>
            <p:custDataLst>
              <p:tags r:id="rId65"/>
            </p:custDataLst>
          </p:nvPr>
        </p:nvCxnSpPr>
        <p:spPr bwMode="auto">
          <a:xfrm flipH="1">
            <a:off x="6099175" y="5438775"/>
            <a:ext cx="428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1" name="Straight Connector 370">
            <a:extLst>
              <a:ext uri="{FF2B5EF4-FFF2-40B4-BE49-F238E27FC236}">
                <a16:creationId xmlns:a16="http://schemas.microsoft.com/office/drawing/2014/main" id="{17377D64-AF90-4CDD-A35E-DDF845BC2F17}"/>
              </a:ext>
            </a:extLst>
          </p:cNvPr>
          <p:cNvCxnSpPr/>
          <p:nvPr>
            <p:custDataLst>
              <p:tags r:id="rId66"/>
            </p:custDataLst>
          </p:nvPr>
        </p:nvCxnSpPr>
        <p:spPr bwMode="auto">
          <a:xfrm flipH="1">
            <a:off x="6081713" y="5665788"/>
            <a:ext cx="254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5" name="Straight Connector 364">
            <a:extLst>
              <a:ext uri="{FF2B5EF4-FFF2-40B4-BE49-F238E27FC236}">
                <a16:creationId xmlns:a16="http://schemas.microsoft.com/office/drawing/2014/main" id="{F95F2F7E-B4E9-4362-8B95-4607DEBB4786}"/>
              </a:ext>
            </a:extLst>
          </p:cNvPr>
          <p:cNvCxnSpPr/>
          <p:nvPr>
            <p:custDataLst>
              <p:tags r:id="rId67"/>
            </p:custDataLst>
          </p:nvPr>
        </p:nvCxnSpPr>
        <p:spPr bwMode="auto">
          <a:xfrm flipH="1">
            <a:off x="6107113" y="5891213"/>
            <a:ext cx="52387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2" name="Straight Connector 371">
            <a:extLst>
              <a:ext uri="{FF2B5EF4-FFF2-40B4-BE49-F238E27FC236}">
                <a16:creationId xmlns:a16="http://schemas.microsoft.com/office/drawing/2014/main" id="{26A8F867-E07C-4AFF-B5E1-8A73347DEE4F}"/>
              </a:ext>
            </a:extLst>
          </p:cNvPr>
          <p:cNvCxnSpPr/>
          <p:nvPr>
            <p:custDataLst>
              <p:tags r:id="rId68"/>
            </p:custDataLst>
          </p:nvPr>
        </p:nvCxnSpPr>
        <p:spPr bwMode="auto">
          <a:xfrm flipH="1">
            <a:off x="6088063" y="6118225"/>
            <a:ext cx="3333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73" name="Text Placeholder 20">
            <a:extLst>
              <a:ext uri="{FF2B5EF4-FFF2-40B4-BE49-F238E27FC236}">
                <a16:creationId xmlns:a16="http://schemas.microsoft.com/office/drawing/2014/main" id="{9130253C-81F3-4976-BBD3-9933951AC6AA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gray">
          <a:xfrm>
            <a:off x="6105525" y="4932363"/>
            <a:ext cx="9366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SzPct val="100000"/>
              <a:buNone/>
              <a:defRPr/>
            </a:pPr>
            <a:fld id="{0953F238-F97D-438B-A520-6664AA669FFD}" type="datetime'''''''''''''''''''0'''''''''''''''''''''''''''''">
              <a:rPr lang="en-US" altLang="en-US" sz="800" smtClean="0">
                <a:solidFill>
                  <a:srgbClr val="000000"/>
                </a:solidFill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SzPct val="100000"/>
                <a:buNone/>
                <a:defRPr/>
              </a:pPr>
              <a:t>0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74" name="Text Placeholder 20">
            <a:extLst>
              <a:ext uri="{FF2B5EF4-FFF2-40B4-BE49-F238E27FC236}">
                <a16:creationId xmlns:a16="http://schemas.microsoft.com/office/drawing/2014/main" id="{39D5FEA7-C552-4AED-8012-8EB0080BAAEB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gray">
          <a:xfrm>
            <a:off x="6107113" y="5611813"/>
            <a:ext cx="9366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SzPct val="100000"/>
              <a:buNone/>
              <a:defRPr/>
            </a:pPr>
            <a:fld id="{BB30EDF2-D1C9-48F8-9F23-805784C1DB7F}" type="datetime'''1'''''''''''''''''''''''''''''''''''''''''''''''''''''">
              <a:rPr lang="en-US" altLang="en-US" sz="800" smtClean="0">
                <a:solidFill>
                  <a:srgbClr val="000000"/>
                </a:solidFill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SzPct val="100000"/>
                <a:buNone/>
                <a:defRPr/>
              </a:pPr>
              <a:t>1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graphicFrame>
        <p:nvGraphicFramePr>
          <p:cNvPr id="441" name="Chart 440">
            <a:extLst>
              <a:ext uri="{FF2B5EF4-FFF2-40B4-BE49-F238E27FC236}">
                <a16:creationId xmlns:a16="http://schemas.microsoft.com/office/drawing/2014/main" id="{68DB8214-48EE-42CA-A132-1A8E289A9695}"/>
              </a:ext>
            </a:extLst>
          </p:cNvPr>
          <p:cNvGraphicFramePr/>
          <p:nvPr>
            <p:custDataLst>
              <p:tags r:id="rId71"/>
            </p:custDataLst>
            <p:extLst>
              <p:ext uri="{D42A27DB-BD31-4B8C-83A1-F6EECF244321}">
                <p14:modId xmlns:p14="http://schemas.microsoft.com/office/powerpoint/2010/main" val="1871553281"/>
              </p:ext>
            </p:extLst>
          </p:nvPr>
        </p:nvGraphicFramePr>
        <p:xfrm>
          <a:off x="8997950" y="1851025"/>
          <a:ext cx="1500188" cy="4464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2"/>
          </a:graphicData>
        </a:graphic>
      </p:graphicFrame>
      <p:cxnSp>
        <p:nvCxnSpPr>
          <p:cNvPr id="380" name="Straight Connector 379">
            <a:extLst>
              <a:ext uri="{FF2B5EF4-FFF2-40B4-BE49-F238E27FC236}">
                <a16:creationId xmlns:a16="http://schemas.microsoft.com/office/drawing/2014/main" id="{E81D75C7-89C2-4F38-A351-34410562D593}"/>
              </a:ext>
            </a:extLst>
          </p:cNvPr>
          <p:cNvCxnSpPr/>
          <p:nvPr>
            <p:custDataLst>
              <p:tags r:id="rId72"/>
            </p:custDataLst>
          </p:nvPr>
        </p:nvCxnSpPr>
        <p:spPr bwMode="auto">
          <a:xfrm flipH="1">
            <a:off x="9421813" y="3629025"/>
            <a:ext cx="3651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8" name="Straight Connector 377">
            <a:extLst>
              <a:ext uri="{FF2B5EF4-FFF2-40B4-BE49-F238E27FC236}">
                <a16:creationId xmlns:a16="http://schemas.microsoft.com/office/drawing/2014/main" id="{FF6A171F-68E1-480D-B7EC-B880A34F32AE}"/>
              </a:ext>
            </a:extLst>
          </p:cNvPr>
          <p:cNvCxnSpPr/>
          <p:nvPr>
            <p:custDataLst>
              <p:tags r:id="rId73"/>
            </p:custDataLst>
          </p:nvPr>
        </p:nvCxnSpPr>
        <p:spPr bwMode="auto">
          <a:xfrm flipH="1">
            <a:off x="9428163" y="2951163"/>
            <a:ext cx="412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1" name="Straight Connector 380">
            <a:extLst>
              <a:ext uri="{FF2B5EF4-FFF2-40B4-BE49-F238E27FC236}">
                <a16:creationId xmlns:a16="http://schemas.microsoft.com/office/drawing/2014/main" id="{A03C3DCA-57E1-4A4D-90A2-D47A592E7357}"/>
              </a:ext>
            </a:extLst>
          </p:cNvPr>
          <p:cNvCxnSpPr/>
          <p:nvPr>
            <p:custDataLst>
              <p:tags r:id="rId74"/>
            </p:custDataLst>
          </p:nvPr>
        </p:nvCxnSpPr>
        <p:spPr bwMode="auto">
          <a:xfrm flipH="1">
            <a:off x="9429750" y="3403600"/>
            <a:ext cx="444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9" name="Straight Connector 378">
            <a:extLst>
              <a:ext uri="{FF2B5EF4-FFF2-40B4-BE49-F238E27FC236}">
                <a16:creationId xmlns:a16="http://schemas.microsoft.com/office/drawing/2014/main" id="{B03D4620-8FA8-4DA9-BEDF-86430637BF6F}"/>
              </a:ext>
            </a:extLst>
          </p:cNvPr>
          <p:cNvCxnSpPr/>
          <p:nvPr>
            <p:custDataLst>
              <p:tags r:id="rId75"/>
            </p:custDataLst>
          </p:nvPr>
        </p:nvCxnSpPr>
        <p:spPr bwMode="auto">
          <a:xfrm flipH="1">
            <a:off x="9417050" y="3176588"/>
            <a:ext cx="317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7" name="Straight Connector 376">
            <a:extLst>
              <a:ext uri="{FF2B5EF4-FFF2-40B4-BE49-F238E27FC236}">
                <a16:creationId xmlns:a16="http://schemas.microsoft.com/office/drawing/2014/main" id="{08E296F6-85EA-4453-A9B8-D04BCF09AEA6}"/>
              </a:ext>
            </a:extLst>
          </p:cNvPr>
          <p:cNvCxnSpPr/>
          <p:nvPr>
            <p:custDataLst>
              <p:tags r:id="rId76"/>
            </p:custDataLst>
          </p:nvPr>
        </p:nvCxnSpPr>
        <p:spPr bwMode="auto">
          <a:xfrm flipH="1">
            <a:off x="9412288" y="3856038"/>
            <a:ext cx="254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2" name="Straight Connector 381">
            <a:extLst>
              <a:ext uri="{FF2B5EF4-FFF2-40B4-BE49-F238E27FC236}">
                <a16:creationId xmlns:a16="http://schemas.microsoft.com/office/drawing/2014/main" id="{178D5DB2-4CB2-4152-8D13-7960D82E11C4}"/>
              </a:ext>
            </a:extLst>
          </p:cNvPr>
          <p:cNvCxnSpPr/>
          <p:nvPr>
            <p:custDataLst>
              <p:tags r:id="rId77"/>
            </p:custDataLst>
          </p:nvPr>
        </p:nvCxnSpPr>
        <p:spPr bwMode="auto">
          <a:xfrm flipH="1">
            <a:off x="9461500" y="4081463"/>
            <a:ext cx="762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3" name="Straight Connector 382">
            <a:extLst>
              <a:ext uri="{FF2B5EF4-FFF2-40B4-BE49-F238E27FC236}">
                <a16:creationId xmlns:a16="http://schemas.microsoft.com/office/drawing/2014/main" id="{CBA52C99-E321-4BB5-906F-9C6DBE1E4744}"/>
              </a:ext>
            </a:extLst>
          </p:cNvPr>
          <p:cNvCxnSpPr/>
          <p:nvPr>
            <p:custDataLst>
              <p:tags r:id="rId78"/>
            </p:custDataLst>
          </p:nvPr>
        </p:nvCxnSpPr>
        <p:spPr bwMode="auto">
          <a:xfrm flipH="1">
            <a:off x="9426575" y="4308475"/>
            <a:ext cx="412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6" name="Straight Connector 375">
            <a:extLst>
              <a:ext uri="{FF2B5EF4-FFF2-40B4-BE49-F238E27FC236}">
                <a16:creationId xmlns:a16="http://schemas.microsoft.com/office/drawing/2014/main" id="{AE4568AC-3DFD-4736-8E6E-6411A965C37C}"/>
              </a:ext>
            </a:extLst>
          </p:cNvPr>
          <p:cNvCxnSpPr/>
          <p:nvPr>
            <p:custDataLst>
              <p:tags r:id="rId79"/>
            </p:custDataLst>
          </p:nvPr>
        </p:nvCxnSpPr>
        <p:spPr bwMode="auto">
          <a:xfrm flipH="1">
            <a:off x="9464675" y="4533900"/>
            <a:ext cx="777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9" name="Straight Connector 388">
            <a:extLst>
              <a:ext uri="{FF2B5EF4-FFF2-40B4-BE49-F238E27FC236}">
                <a16:creationId xmlns:a16="http://schemas.microsoft.com/office/drawing/2014/main" id="{169E8BAF-7017-40B5-9FC6-84716BD42FF8}"/>
              </a:ext>
            </a:extLst>
          </p:cNvPr>
          <p:cNvCxnSpPr/>
          <p:nvPr>
            <p:custDataLst>
              <p:tags r:id="rId80"/>
            </p:custDataLst>
          </p:nvPr>
        </p:nvCxnSpPr>
        <p:spPr bwMode="auto">
          <a:xfrm flipH="1">
            <a:off x="9410700" y="5891213"/>
            <a:ext cx="254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4" name="Straight Connector 383">
            <a:extLst>
              <a:ext uri="{FF2B5EF4-FFF2-40B4-BE49-F238E27FC236}">
                <a16:creationId xmlns:a16="http://schemas.microsoft.com/office/drawing/2014/main" id="{8917F177-B778-424B-844F-8C326B72107E}"/>
              </a:ext>
            </a:extLst>
          </p:cNvPr>
          <p:cNvCxnSpPr/>
          <p:nvPr>
            <p:custDataLst>
              <p:tags r:id="rId81"/>
            </p:custDataLst>
          </p:nvPr>
        </p:nvCxnSpPr>
        <p:spPr bwMode="auto">
          <a:xfrm flipH="1">
            <a:off x="9417050" y="4760913"/>
            <a:ext cx="301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5" name="Straight Connector 384">
            <a:extLst>
              <a:ext uri="{FF2B5EF4-FFF2-40B4-BE49-F238E27FC236}">
                <a16:creationId xmlns:a16="http://schemas.microsoft.com/office/drawing/2014/main" id="{477791D2-4D7C-4327-9C71-D1EB62B6757C}"/>
              </a:ext>
            </a:extLst>
          </p:cNvPr>
          <p:cNvCxnSpPr/>
          <p:nvPr>
            <p:custDataLst>
              <p:tags r:id="rId82"/>
            </p:custDataLst>
          </p:nvPr>
        </p:nvCxnSpPr>
        <p:spPr bwMode="auto">
          <a:xfrm flipH="1">
            <a:off x="9413875" y="4986338"/>
            <a:ext cx="269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7" name="Straight Connector 386">
            <a:extLst>
              <a:ext uri="{FF2B5EF4-FFF2-40B4-BE49-F238E27FC236}">
                <a16:creationId xmlns:a16="http://schemas.microsoft.com/office/drawing/2014/main" id="{49BFF594-9602-4838-AF6E-72C9A7DA62A4}"/>
              </a:ext>
            </a:extLst>
          </p:cNvPr>
          <p:cNvCxnSpPr/>
          <p:nvPr>
            <p:custDataLst>
              <p:tags r:id="rId83"/>
            </p:custDataLst>
          </p:nvPr>
        </p:nvCxnSpPr>
        <p:spPr bwMode="auto">
          <a:xfrm flipH="1">
            <a:off x="9456738" y="5213350"/>
            <a:ext cx="698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6" name="Straight Connector 385">
            <a:extLst>
              <a:ext uri="{FF2B5EF4-FFF2-40B4-BE49-F238E27FC236}">
                <a16:creationId xmlns:a16="http://schemas.microsoft.com/office/drawing/2014/main" id="{84534874-DDBB-444D-B7F8-E9EAC152D23A}"/>
              </a:ext>
            </a:extLst>
          </p:cNvPr>
          <p:cNvCxnSpPr/>
          <p:nvPr>
            <p:custDataLst>
              <p:tags r:id="rId84"/>
            </p:custDataLst>
          </p:nvPr>
        </p:nvCxnSpPr>
        <p:spPr bwMode="auto">
          <a:xfrm flipH="1">
            <a:off x="9413875" y="5438775"/>
            <a:ext cx="285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8" name="Straight Connector 387">
            <a:extLst>
              <a:ext uri="{FF2B5EF4-FFF2-40B4-BE49-F238E27FC236}">
                <a16:creationId xmlns:a16="http://schemas.microsoft.com/office/drawing/2014/main" id="{D2F54BEF-9C17-4634-935E-EF4AAD4C4038}"/>
              </a:ext>
            </a:extLst>
          </p:cNvPr>
          <p:cNvCxnSpPr/>
          <p:nvPr>
            <p:custDataLst>
              <p:tags r:id="rId85"/>
            </p:custDataLst>
          </p:nvPr>
        </p:nvCxnSpPr>
        <p:spPr bwMode="auto">
          <a:xfrm flipH="1">
            <a:off x="9410700" y="5665788"/>
            <a:ext cx="254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0" name="Straight Connector 389">
            <a:extLst>
              <a:ext uri="{FF2B5EF4-FFF2-40B4-BE49-F238E27FC236}">
                <a16:creationId xmlns:a16="http://schemas.microsoft.com/office/drawing/2014/main" id="{CAEC7AEB-A3D7-43BF-9B79-2526A3BBADF3}"/>
              </a:ext>
            </a:extLst>
          </p:cNvPr>
          <p:cNvCxnSpPr/>
          <p:nvPr>
            <p:custDataLst>
              <p:tags r:id="rId86"/>
            </p:custDataLst>
          </p:nvPr>
        </p:nvCxnSpPr>
        <p:spPr bwMode="auto">
          <a:xfrm flipH="1">
            <a:off x="9410700" y="6118225"/>
            <a:ext cx="254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92" name="Text Placeholder 20">
            <a:extLst>
              <a:ext uri="{FF2B5EF4-FFF2-40B4-BE49-F238E27FC236}">
                <a16:creationId xmlns:a16="http://schemas.microsoft.com/office/drawing/2014/main" id="{34E6CF0A-C16F-44F4-803F-ACEDE23B843E}"/>
              </a:ext>
            </a:extLst>
          </p:cNvPr>
          <p:cNvSpPr>
            <a:spLocks noGrp="1"/>
          </p:cNvSpPr>
          <p:nvPr>
            <p:custDataLst>
              <p:tags r:id="rId87"/>
            </p:custDataLst>
          </p:nvPr>
        </p:nvSpPr>
        <p:spPr bwMode="gray">
          <a:xfrm>
            <a:off x="9391650" y="2670175"/>
            <a:ext cx="158750" cy="109538"/>
          </a:xfrm>
          <a:prstGeom prst="rect">
            <a:avLst/>
          </a:prstGeom>
          <a:solidFill>
            <a:srgbClr val="969696"/>
          </a:solidFill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7F90707D-4BE9-4B61-A372-F20BBF054A9D}" type="datetime'''''''''''''''6''''''''''''''''''''''''''''''9'">
              <a:rPr lang="en-US" altLang="en-US" sz="800" smtClean="0">
                <a:solidFill>
                  <a:srgbClr val="000000"/>
                </a:solidFill>
                <a:effectLst/>
              </a:rPr>
              <a:pPr/>
              <a:t>69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+mn-cs"/>
            </a:endParaRPr>
          </a:p>
        </p:txBody>
      </p:sp>
      <p:sp>
        <p:nvSpPr>
          <p:cNvPr id="393" name="Text Placeholder 20">
            <a:extLst>
              <a:ext uri="{FF2B5EF4-FFF2-40B4-BE49-F238E27FC236}">
                <a16:creationId xmlns:a16="http://schemas.microsoft.com/office/drawing/2014/main" id="{060A2996-7B0A-4BE2-8B3D-B42C7C55ABD8}"/>
              </a:ext>
            </a:extLst>
          </p:cNvPr>
          <p:cNvSpPr>
            <a:spLocks noGrp="1"/>
          </p:cNvSpPr>
          <p:nvPr>
            <p:custDataLst>
              <p:tags r:id="rId88"/>
            </p:custDataLst>
          </p:nvPr>
        </p:nvSpPr>
        <p:spPr bwMode="gray">
          <a:xfrm>
            <a:off x="9437688" y="3802063"/>
            <a:ext cx="9366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SzPct val="100000"/>
              <a:buNone/>
              <a:defRPr/>
            </a:pPr>
            <a:fld id="{AB3D58E7-DD0B-4498-B17F-9AA63BAD5186}" type="datetime'''''''''''''''''''''1'''''''''">
              <a:rPr lang="en-US" altLang="en-US" sz="800" smtClean="0">
                <a:solidFill>
                  <a:srgbClr val="000000"/>
                </a:solidFill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SzPct val="100000"/>
                <a:buNone/>
                <a:defRPr/>
              </a:pPr>
              <a:t>1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95" name="Text Placeholder 20">
            <a:extLst>
              <a:ext uri="{FF2B5EF4-FFF2-40B4-BE49-F238E27FC236}">
                <a16:creationId xmlns:a16="http://schemas.microsoft.com/office/drawing/2014/main" id="{F947FCCD-9F62-4A14-B4FF-FA4A8C60FC66}"/>
              </a:ext>
            </a:extLst>
          </p:cNvPr>
          <p:cNvSpPr>
            <a:spLocks noGrp="1"/>
          </p:cNvSpPr>
          <p:nvPr>
            <p:custDataLst>
              <p:tags r:id="rId89"/>
            </p:custDataLst>
          </p:nvPr>
        </p:nvSpPr>
        <p:spPr bwMode="gray">
          <a:xfrm>
            <a:off x="9436100" y="6064250"/>
            <a:ext cx="9366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SzPct val="100000"/>
              <a:buNone/>
              <a:defRPr/>
            </a:pPr>
            <a:fld id="{64A315C7-57BB-44C9-B616-EF359DCE189A}" type="datetime'''''''''''''''''''''''''''''''''''0'''''''''''''">
              <a:rPr lang="en-US" altLang="en-US" sz="800" smtClean="0">
                <a:solidFill>
                  <a:srgbClr val="000000"/>
                </a:solidFill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SzPct val="100000"/>
                <a:buNone/>
                <a:defRPr/>
              </a:pPr>
              <a:t>0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91" name="Text Placeholder 20">
            <a:extLst>
              <a:ext uri="{FF2B5EF4-FFF2-40B4-BE49-F238E27FC236}">
                <a16:creationId xmlns:a16="http://schemas.microsoft.com/office/drawing/2014/main" id="{711E60F3-4734-424E-A0BE-82EC2C749391}"/>
              </a:ext>
            </a:extLst>
          </p:cNvPr>
          <p:cNvSpPr>
            <a:spLocks noGrp="1"/>
          </p:cNvSpPr>
          <p:nvPr>
            <p:custDataLst>
              <p:tags r:id="rId90"/>
            </p:custDataLst>
          </p:nvPr>
        </p:nvSpPr>
        <p:spPr bwMode="gray">
          <a:xfrm>
            <a:off x="9436100" y="5611813"/>
            <a:ext cx="9366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SzPct val="100000"/>
              <a:buNone/>
              <a:defRPr/>
            </a:pPr>
            <a:fld id="{15F32B1F-7283-401B-A0DF-05EA37308761}" type="datetime'''''''''''''''0'''''''''''''''''''''''''''''''">
              <a:rPr lang="en-US" altLang="en-US" sz="800" smtClean="0">
                <a:solidFill>
                  <a:srgbClr val="000000"/>
                </a:solidFill>
              </a:rPr>
              <a:pPr/>
              <a:t>0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94" name="Text Placeholder 20">
            <a:extLst>
              <a:ext uri="{FF2B5EF4-FFF2-40B4-BE49-F238E27FC236}">
                <a16:creationId xmlns:a16="http://schemas.microsoft.com/office/drawing/2014/main" id="{E4AAADD5-BE48-48BB-A068-AE0BB8425B0F}"/>
              </a:ext>
            </a:extLst>
          </p:cNvPr>
          <p:cNvSpPr>
            <a:spLocks noGrp="1"/>
          </p:cNvSpPr>
          <p:nvPr>
            <p:custDataLst>
              <p:tags r:id="rId91"/>
            </p:custDataLst>
          </p:nvPr>
        </p:nvSpPr>
        <p:spPr bwMode="gray">
          <a:xfrm>
            <a:off x="9436100" y="5837238"/>
            <a:ext cx="9366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SzPct val="100000"/>
              <a:buNone/>
              <a:defRPr/>
            </a:pPr>
            <a:fld id="{0598453A-16B9-4514-94C6-87DAEF85976C}" type="datetime'''''''''''''''0'''''''''''''''''''''''''''''''">
              <a:rPr lang="en-US" altLang="en-US" sz="800" smtClean="0">
                <a:solidFill>
                  <a:srgbClr val="000000"/>
                </a:solidFill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SzPct val="100000"/>
                <a:buNone/>
                <a:defRPr/>
              </a:pPr>
              <a:t>0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graphicFrame>
        <p:nvGraphicFramePr>
          <p:cNvPr id="442" name="Chart 441">
            <a:extLst>
              <a:ext uri="{FF2B5EF4-FFF2-40B4-BE49-F238E27FC236}">
                <a16:creationId xmlns:a16="http://schemas.microsoft.com/office/drawing/2014/main" id="{B65BB11C-4E88-4960-A1EE-D005087FEA84}"/>
              </a:ext>
            </a:extLst>
          </p:cNvPr>
          <p:cNvGraphicFramePr/>
          <p:nvPr>
            <p:custDataLst>
              <p:tags r:id="rId92"/>
            </p:custDataLst>
            <p:extLst>
              <p:ext uri="{D42A27DB-BD31-4B8C-83A1-F6EECF244321}">
                <p14:modId xmlns:p14="http://schemas.microsoft.com/office/powerpoint/2010/main" val="1099638113"/>
              </p:ext>
            </p:extLst>
          </p:nvPr>
        </p:nvGraphicFramePr>
        <p:xfrm>
          <a:off x="10423525" y="1851025"/>
          <a:ext cx="1500188" cy="4464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3"/>
          </a:graphicData>
        </a:graphic>
      </p:graphicFrame>
      <p:cxnSp>
        <p:nvCxnSpPr>
          <p:cNvPr id="399" name="Straight Connector 398">
            <a:extLst>
              <a:ext uri="{FF2B5EF4-FFF2-40B4-BE49-F238E27FC236}">
                <a16:creationId xmlns:a16="http://schemas.microsoft.com/office/drawing/2014/main" id="{46C63E46-8FAD-4415-A5B1-BF400AC9AA07}"/>
              </a:ext>
            </a:extLst>
          </p:cNvPr>
          <p:cNvCxnSpPr/>
          <p:nvPr>
            <p:custDataLst>
              <p:tags r:id="rId93"/>
            </p:custDataLst>
          </p:nvPr>
        </p:nvCxnSpPr>
        <p:spPr bwMode="auto">
          <a:xfrm flipH="1">
            <a:off x="11029950" y="3629025"/>
            <a:ext cx="571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8" name="Straight Connector 397">
            <a:extLst>
              <a:ext uri="{FF2B5EF4-FFF2-40B4-BE49-F238E27FC236}">
                <a16:creationId xmlns:a16="http://schemas.microsoft.com/office/drawing/2014/main" id="{5B89DB79-4F68-482A-882F-82924D563C71}"/>
              </a:ext>
            </a:extLst>
          </p:cNvPr>
          <p:cNvCxnSpPr/>
          <p:nvPr>
            <p:custDataLst>
              <p:tags r:id="rId94"/>
            </p:custDataLst>
          </p:nvPr>
        </p:nvCxnSpPr>
        <p:spPr bwMode="auto">
          <a:xfrm flipH="1">
            <a:off x="11007725" y="2271713"/>
            <a:ext cx="349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2" name="Straight Connector 401">
            <a:extLst>
              <a:ext uri="{FF2B5EF4-FFF2-40B4-BE49-F238E27FC236}">
                <a16:creationId xmlns:a16="http://schemas.microsoft.com/office/drawing/2014/main" id="{1E9AA7AA-28EC-48AC-8A5C-8120EFB33BF7}"/>
              </a:ext>
            </a:extLst>
          </p:cNvPr>
          <p:cNvCxnSpPr/>
          <p:nvPr>
            <p:custDataLst>
              <p:tags r:id="rId95"/>
            </p:custDataLst>
          </p:nvPr>
        </p:nvCxnSpPr>
        <p:spPr bwMode="auto">
          <a:xfrm flipH="1">
            <a:off x="11028363" y="2724150"/>
            <a:ext cx="555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6" name="Straight Connector 405">
            <a:extLst>
              <a:ext uri="{FF2B5EF4-FFF2-40B4-BE49-F238E27FC236}">
                <a16:creationId xmlns:a16="http://schemas.microsoft.com/office/drawing/2014/main" id="{8AD6FF3E-789A-416F-8321-51C659D0A114}"/>
              </a:ext>
            </a:extLst>
          </p:cNvPr>
          <p:cNvCxnSpPr/>
          <p:nvPr>
            <p:custDataLst>
              <p:tags r:id="rId96"/>
            </p:custDataLst>
          </p:nvPr>
        </p:nvCxnSpPr>
        <p:spPr bwMode="auto">
          <a:xfrm flipH="1">
            <a:off x="10998200" y="3403600"/>
            <a:ext cx="254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1" name="Straight Connector 400">
            <a:extLst>
              <a:ext uri="{FF2B5EF4-FFF2-40B4-BE49-F238E27FC236}">
                <a16:creationId xmlns:a16="http://schemas.microsoft.com/office/drawing/2014/main" id="{8B47BF41-0D13-4703-9A9B-FA6FC84378EA}"/>
              </a:ext>
            </a:extLst>
          </p:cNvPr>
          <p:cNvCxnSpPr/>
          <p:nvPr>
            <p:custDataLst>
              <p:tags r:id="rId97"/>
            </p:custDataLst>
          </p:nvPr>
        </p:nvCxnSpPr>
        <p:spPr bwMode="auto">
          <a:xfrm flipH="1">
            <a:off x="11044238" y="2951163"/>
            <a:ext cx="71437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4" name="Straight Connector 403">
            <a:extLst>
              <a:ext uri="{FF2B5EF4-FFF2-40B4-BE49-F238E27FC236}">
                <a16:creationId xmlns:a16="http://schemas.microsoft.com/office/drawing/2014/main" id="{7A51A2BF-AD5B-486C-BF90-32F9B4ED426D}"/>
              </a:ext>
            </a:extLst>
          </p:cNvPr>
          <p:cNvCxnSpPr/>
          <p:nvPr>
            <p:custDataLst>
              <p:tags r:id="rId98"/>
            </p:custDataLst>
          </p:nvPr>
        </p:nvCxnSpPr>
        <p:spPr bwMode="auto">
          <a:xfrm flipH="1">
            <a:off x="11052175" y="3176588"/>
            <a:ext cx="777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3" name="Straight Connector 402">
            <a:extLst>
              <a:ext uri="{FF2B5EF4-FFF2-40B4-BE49-F238E27FC236}">
                <a16:creationId xmlns:a16="http://schemas.microsoft.com/office/drawing/2014/main" id="{87F65932-84D0-4CC9-A63C-575F3378A021}"/>
              </a:ext>
            </a:extLst>
          </p:cNvPr>
          <p:cNvCxnSpPr/>
          <p:nvPr>
            <p:custDataLst>
              <p:tags r:id="rId99"/>
            </p:custDataLst>
          </p:nvPr>
        </p:nvCxnSpPr>
        <p:spPr bwMode="auto">
          <a:xfrm flipH="1">
            <a:off x="10998200" y="3856038"/>
            <a:ext cx="254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7" name="Straight Connector 406">
            <a:extLst>
              <a:ext uri="{FF2B5EF4-FFF2-40B4-BE49-F238E27FC236}">
                <a16:creationId xmlns:a16="http://schemas.microsoft.com/office/drawing/2014/main" id="{61CF19AE-207B-42E9-B9AC-4D85B706495E}"/>
              </a:ext>
            </a:extLst>
          </p:cNvPr>
          <p:cNvCxnSpPr/>
          <p:nvPr>
            <p:custDataLst>
              <p:tags r:id="rId100"/>
            </p:custDataLst>
          </p:nvPr>
        </p:nvCxnSpPr>
        <p:spPr bwMode="auto">
          <a:xfrm flipH="1">
            <a:off x="11002963" y="4081463"/>
            <a:ext cx="301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0" name="Straight Connector 409">
            <a:extLst>
              <a:ext uri="{FF2B5EF4-FFF2-40B4-BE49-F238E27FC236}">
                <a16:creationId xmlns:a16="http://schemas.microsoft.com/office/drawing/2014/main" id="{0F0E89CE-EDB8-449A-B714-BDB31EDD6926}"/>
              </a:ext>
            </a:extLst>
          </p:cNvPr>
          <p:cNvCxnSpPr/>
          <p:nvPr>
            <p:custDataLst>
              <p:tags r:id="rId101"/>
            </p:custDataLst>
          </p:nvPr>
        </p:nvCxnSpPr>
        <p:spPr bwMode="auto">
          <a:xfrm flipH="1">
            <a:off x="11004550" y="4760913"/>
            <a:ext cx="317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8" name="Straight Connector 407">
            <a:extLst>
              <a:ext uri="{FF2B5EF4-FFF2-40B4-BE49-F238E27FC236}">
                <a16:creationId xmlns:a16="http://schemas.microsoft.com/office/drawing/2014/main" id="{E80748D1-94E9-4C52-8BC4-B0815F8D6C5B}"/>
              </a:ext>
            </a:extLst>
          </p:cNvPr>
          <p:cNvCxnSpPr/>
          <p:nvPr>
            <p:custDataLst>
              <p:tags r:id="rId102"/>
            </p:custDataLst>
          </p:nvPr>
        </p:nvCxnSpPr>
        <p:spPr bwMode="auto">
          <a:xfrm flipH="1">
            <a:off x="10998200" y="4308475"/>
            <a:ext cx="254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9" name="Straight Connector 408">
            <a:extLst>
              <a:ext uri="{FF2B5EF4-FFF2-40B4-BE49-F238E27FC236}">
                <a16:creationId xmlns:a16="http://schemas.microsoft.com/office/drawing/2014/main" id="{D719FD83-F689-4849-99F4-7BE642F10DDC}"/>
              </a:ext>
            </a:extLst>
          </p:cNvPr>
          <p:cNvCxnSpPr/>
          <p:nvPr>
            <p:custDataLst>
              <p:tags r:id="rId103"/>
            </p:custDataLst>
          </p:nvPr>
        </p:nvCxnSpPr>
        <p:spPr bwMode="auto">
          <a:xfrm flipH="1">
            <a:off x="11049000" y="4533900"/>
            <a:ext cx="762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0" name="Straight Connector 399">
            <a:extLst>
              <a:ext uri="{FF2B5EF4-FFF2-40B4-BE49-F238E27FC236}">
                <a16:creationId xmlns:a16="http://schemas.microsoft.com/office/drawing/2014/main" id="{1E15FDE0-D701-4023-86DC-35A5816D3757}"/>
              </a:ext>
            </a:extLst>
          </p:cNvPr>
          <p:cNvCxnSpPr/>
          <p:nvPr>
            <p:custDataLst>
              <p:tags r:id="rId104"/>
            </p:custDataLst>
          </p:nvPr>
        </p:nvCxnSpPr>
        <p:spPr bwMode="auto">
          <a:xfrm flipH="1">
            <a:off x="10998200" y="4986338"/>
            <a:ext cx="254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1" name="Straight Connector 410">
            <a:extLst>
              <a:ext uri="{FF2B5EF4-FFF2-40B4-BE49-F238E27FC236}">
                <a16:creationId xmlns:a16="http://schemas.microsoft.com/office/drawing/2014/main" id="{FE971529-AA24-4E61-BC62-55C6BBCE49C1}"/>
              </a:ext>
            </a:extLst>
          </p:cNvPr>
          <p:cNvCxnSpPr/>
          <p:nvPr>
            <p:custDataLst>
              <p:tags r:id="rId105"/>
            </p:custDataLst>
          </p:nvPr>
        </p:nvCxnSpPr>
        <p:spPr bwMode="auto">
          <a:xfrm flipH="1">
            <a:off x="11002963" y="5213350"/>
            <a:ext cx="301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2" name="Straight Connector 411">
            <a:extLst>
              <a:ext uri="{FF2B5EF4-FFF2-40B4-BE49-F238E27FC236}">
                <a16:creationId xmlns:a16="http://schemas.microsoft.com/office/drawing/2014/main" id="{09288F16-1A22-4F6D-865E-CA5E538B55F2}"/>
              </a:ext>
            </a:extLst>
          </p:cNvPr>
          <p:cNvCxnSpPr/>
          <p:nvPr>
            <p:custDataLst>
              <p:tags r:id="rId106"/>
            </p:custDataLst>
          </p:nvPr>
        </p:nvCxnSpPr>
        <p:spPr bwMode="auto">
          <a:xfrm flipH="1">
            <a:off x="11002963" y="5438775"/>
            <a:ext cx="301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3" name="Straight Connector 412">
            <a:extLst>
              <a:ext uri="{FF2B5EF4-FFF2-40B4-BE49-F238E27FC236}">
                <a16:creationId xmlns:a16="http://schemas.microsoft.com/office/drawing/2014/main" id="{30C174B0-ED11-4F4B-9569-776D3364BD36}"/>
              </a:ext>
            </a:extLst>
          </p:cNvPr>
          <p:cNvCxnSpPr/>
          <p:nvPr>
            <p:custDataLst>
              <p:tags r:id="rId107"/>
            </p:custDataLst>
          </p:nvPr>
        </p:nvCxnSpPr>
        <p:spPr bwMode="auto">
          <a:xfrm flipH="1">
            <a:off x="10998200" y="5665788"/>
            <a:ext cx="254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7" name="Straight Connector 396">
            <a:extLst>
              <a:ext uri="{FF2B5EF4-FFF2-40B4-BE49-F238E27FC236}">
                <a16:creationId xmlns:a16="http://schemas.microsoft.com/office/drawing/2014/main" id="{AD9DF425-11B7-49E5-9AD9-73813E39AE5E}"/>
              </a:ext>
            </a:extLst>
          </p:cNvPr>
          <p:cNvCxnSpPr/>
          <p:nvPr>
            <p:custDataLst>
              <p:tags r:id="rId108"/>
            </p:custDataLst>
          </p:nvPr>
        </p:nvCxnSpPr>
        <p:spPr bwMode="auto">
          <a:xfrm flipH="1">
            <a:off x="11004550" y="5891213"/>
            <a:ext cx="317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5" name="Straight Connector 404">
            <a:extLst>
              <a:ext uri="{FF2B5EF4-FFF2-40B4-BE49-F238E27FC236}">
                <a16:creationId xmlns:a16="http://schemas.microsoft.com/office/drawing/2014/main" id="{20731115-A936-40B3-B335-A015513B75D3}"/>
              </a:ext>
            </a:extLst>
          </p:cNvPr>
          <p:cNvCxnSpPr/>
          <p:nvPr>
            <p:custDataLst>
              <p:tags r:id="rId109"/>
            </p:custDataLst>
          </p:nvPr>
        </p:nvCxnSpPr>
        <p:spPr bwMode="auto">
          <a:xfrm flipH="1">
            <a:off x="10998200" y="6118225"/>
            <a:ext cx="254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14" name="Text Placeholder 20">
            <a:extLst>
              <a:ext uri="{FF2B5EF4-FFF2-40B4-BE49-F238E27FC236}">
                <a16:creationId xmlns:a16="http://schemas.microsoft.com/office/drawing/2014/main" id="{F4E9BF87-838A-431C-A60E-CE38C0F57D53}"/>
              </a:ext>
            </a:extLst>
          </p:cNvPr>
          <p:cNvSpPr>
            <a:spLocks noGrp="1"/>
          </p:cNvSpPr>
          <p:nvPr>
            <p:custDataLst>
              <p:tags r:id="rId110"/>
            </p:custDataLst>
          </p:nvPr>
        </p:nvSpPr>
        <p:spPr bwMode="gray">
          <a:xfrm>
            <a:off x="11023600" y="3349625"/>
            <a:ext cx="9366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SzPct val="100000"/>
              <a:buNone/>
              <a:defRPr/>
            </a:pPr>
            <a:fld id="{FAB4798A-A557-4374-B05C-1DB2B1CE65E3}" type="datetime'''''''''0'''''''''''''''''''''''''''''''">
              <a:rPr lang="en-US" altLang="en-US" sz="800" smtClean="0">
                <a:solidFill>
                  <a:srgbClr val="000000"/>
                </a:solidFill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SzPct val="100000"/>
                <a:buNone/>
                <a:defRPr/>
              </a:pPr>
              <a:t>0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415" name="Text Placeholder 20">
            <a:extLst>
              <a:ext uri="{FF2B5EF4-FFF2-40B4-BE49-F238E27FC236}">
                <a16:creationId xmlns:a16="http://schemas.microsoft.com/office/drawing/2014/main" id="{8B2254B4-0B1C-4099-B868-2762F4320272}"/>
              </a:ext>
            </a:extLst>
          </p:cNvPr>
          <p:cNvSpPr>
            <a:spLocks noGrp="1"/>
          </p:cNvSpPr>
          <p:nvPr>
            <p:custDataLst>
              <p:tags r:id="rId111"/>
            </p:custDataLst>
          </p:nvPr>
        </p:nvSpPr>
        <p:spPr bwMode="gray">
          <a:xfrm>
            <a:off x="11023600" y="3802063"/>
            <a:ext cx="9366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SzPct val="100000"/>
              <a:buNone/>
              <a:defRPr/>
            </a:pPr>
            <a:fld id="{26206B85-F979-4691-BDA5-09F4FA4EFFF3}" type="datetime'''''''''''''''''''''''''''''''''''''''''0'''''''''">
              <a:rPr lang="en-US" altLang="en-US" sz="800" smtClean="0">
                <a:solidFill>
                  <a:srgbClr val="000000"/>
                </a:solidFill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SzPct val="100000"/>
                <a:buNone/>
                <a:defRPr/>
              </a:pPr>
              <a:t>0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416" name="Text Placeholder 20">
            <a:extLst>
              <a:ext uri="{FF2B5EF4-FFF2-40B4-BE49-F238E27FC236}">
                <a16:creationId xmlns:a16="http://schemas.microsoft.com/office/drawing/2014/main" id="{EDB615A2-8BC4-430A-8D37-6BE183ED4BC4}"/>
              </a:ext>
            </a:extLst>
          </p:cNvPr>
          <p:cNvSpPr>
            <a:spLocks noGrp="1"/>
          </p:cNvSpPr>
          <p:nvPr>
            <p:custDataLst>
              <p:tags r:id="rId112"/>
            </p:custDataLst>
          </p:nvPr>
        </p:nvSpPr>
        <p:spPr bwMode="gray">
          <a:xfrm>
            <a:off x="11023600" y="4254500"/>
            <a:ext cx="9366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SzPct val="100000"/>
              <a:buNone/>
              <a:defRPr/>
            </a:pPr>
            <a:fld id="{DFED64D8-A917-4CD4-A932-B0BDFA372F10}" type="datetime'0'''''''''''''''''''''''''''''''''''''''''''">
              <a:rPr lang="en-US" altLang="en-US" sz="800" smtClean="0">
                <a:solidFill>
                  <a:srgbClr val="000000"/>
                </a:solidFill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SzPct val="100000"/>
                <a:buNone/>
                <a:defRPr/>
              </a:pPr>
              <a:t>0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417" name="Text Placeholder 20">
            <a:extLst>
              <a:ext uri="{FF2B5EF4-FFF2-40B4-BE49-F238E27FC236}">
                <a16:creationId xmlns:a16="http://schemas.microsoft.com/office/drawing/2014/main" id="{9954EAA0-2541-4686-AD3D-B4F6410DB86B}"/>
              </a:ext>
            </a:extLst>
          </p:cNvPr>
          <p:cNvSpPr>
            <a:spLocks noGrp="1"/>
          </p:cNvSpPr>
          <p:nvPr>
            <p:custDataLst>
              <p:tags r:id="rId113"/>
            </p:custDataLst>
          </p:nvPr>
        </p:nvSpPr>
        <p:spPr bwMode="gray">
          <a:xfrm>
            <a:off x="11023600" y="4932363"/>
            <a:ext cx="9366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SzPct val="100000"/>
              <a:buNone/>
              <a:defRPr/>
            </a:pPr>
            <a:fld id="{3AA1433E-9E94-4B35-A334-365E38BF4D49}" type="datetime'''''''''''''''''''''''''''''''''0'''''">
              <a:rPr lang="en-US" altLang="en-US" sz="800" smtClean="0">
                <a:solidFill>
                  <a:srgbClr val="000000"/>
                </a:solidFill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SzPct val="100000"/>
                <a:buNone/>
                <a:defRPr/>
              </a:pPr>
              <a:t>0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418" name="Text Placeholder 20">
            <a:extLst>
              <a:ext uri="{FF2B5EF4-FFF2-40B4-BE49-F238E27FC236}">
                <a16:creationId xmlns:a16="http://schemas.microsoft.com/office/drawing/2014/main" id="{5B916884-EA48-49C0-A0B8-94E285DCFD0F}"/>
              </a:ext>
            </a:extLst>
          </p:cNvPr>
          <p:cNvSpPr>
            <a:spLocks noGrp="1"/>
          </p:cNvSpPr>
          <p:nvPr>
            <p:custDataLst>
              <p:tags r:id="rId114"/>
            </p:custDataLst>
          </p:nvPr>
        </p:nvSpPr>
        <p:spPr bwMode="gray">
          <a:xfrm>
            <a:off x="11023600" y="5611813"/>
            <a:ext cx="9366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SzPct val="100000"/>
              <a:buNone/>
              <a:defRPr/>
            </a:pPr>
            <a:fld id="{98A4A529-CF48-4BD3-84ED-3066117A25DA}" type="datetime'''''''0'''''''''''''''''''''''''''">
              <a:rPr lang="en-US" altLang="en-US" sz="800" smtClean="0">
                <a:solidFill>
                  <a:srgbClr val="000000"/>
                </a:solidFill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SzPct val="100000"/>
                <a:buNone/>
                <a:defRPr/>
              </a:pPr>
              <a:t>0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419" name="Text Placeholder 20">
            <a:extLst>
              <a:ext uri="{FF2B5EF4-FFF2-40B4-BE49-F238E27FC236}">
                <a16:creationId xmlns:a16="http://schemas.microsoft.com/office/drawing/2014/main" id="{F70285EC-4052-42C0-9DB6-D2835E4BDDD0}"/>
              </a:ext>
            </a:extLst>
          </p:cNvPr>
          <p:cNvSpPr>
            <a:spLocks noGrp="1"/>
          </p:cNvSpPr>
          <p:nvPr>
            <p:custDataLst>
              <p:tags r:id="rId115"/>
            </p:custDataLst>
          </p:nvPr>
        </p:nvSpPr>
        <p:spPr bwMode="gray">
          <a:xfrm>
            <a:off x="11023600" y="6064250"/>
            <a:ext cx="9366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SzPct val="100000"/>
              <a:buNone/>
              <a:defRPr/>
            </a:pPr>
            <a:fld id="{F25BBE85-A23C-4330-9A5F-793D2182C5EF}" type="datetime'''''''''''''''''''''''''''''''''''''''0'''''''''">
              <a:rPr lang="en-US" altLang="en-US" sz="800" smtClean="0">
                <a:solidFill>
                  <a:srgbClr val="000000"/>
                </a:solidFill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SzPct val="100000"/>
                <a:buNone/>
                <a:defRPr/>
              </a:pPr>
              <a:t>0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pic>
        <p:nvPicPr>
          <p:cNvPr id="420" name="Picture 2" descr="Image result for magnum go лого">
            <a:extLst>
              <a:ext uri="{FF2B5EF4-FFF2-40B4-BE49-F238E27FC236}">
                <a16:creationId xmlns:a16="http://schemas.microsoft.com/office/drawing/2014/main" id="{AF5E9899-B1F9-4B1D-A914-FA0C8D1518E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093" r="42049" b="51254"/>
          <a:stretch/>
        </p:blipFill>
        <p:spPr bwMode="auto">
          <a:xfrm>
            <a:off x="2712199" y="1389481"/>
            <a:ext cx="690420" cy="4297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43" name="Chart 442">
            <a:extLst>
              <a:ext uri="{FF2B5EF4-FFF2-40B4-BE49-F238E27FC236}">
                <a16:creationId xmlns:a16="http://schemas.microsoft.com/office/drawing/2014/main" id="{A6808BFD-7DDF-4C23-BBEE-F776D3830065}"/>
              </a:ext>
            </a:extLst>
          </p:cNvPr>
          <p:cNvGraphicFramePr/>
          <p:nvPr>
            <p:custDataLst>
              <p:tags r:id="rId116"/>
            </p:custDataLst>
            <p:extLst>
              <p:ext uri="{D42A27DB-BD31-4B8C-83A1-F6EECF244321}">
                <p14:modId xmlns:p14="http://schemas.microsoft.com/office/powerpoint/2010/main" val="2398546295"/>
              </p:ext>
            </p:extLst>
          </p:nvPr>
        </p:nvGraphicFramePr>
        <p:xfrm>
          <a:off x="7475538" y="1851025"/>
          <a:ext cx="1500187" cy="4464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5"/>
          </a:graphicData>
        </a:graphic>
      </p:graphicFrame>
      <p:cxnSp>
        <p:nvCxnSpPr>
          <p:cNvPr id="423" name="Straight Connector 422">
            <a:extLst>
              <a:ext uri="{FF2B5EF4-FFF2-40B4-BE49-F238E27FC236}">
                <a16:creationId xmlns:a16="http://schemas.microsoft.com/office/drawing/2014/main" id="{77D13ADD-0E3C-4D61-9D78-7D39BFD99EF5}"/>
              </a:ext>
            </a:extLst>
          </p:cNvPr>
          <p:cNvCxnSpPr/>
          <p:nvPr>
            <p:custDataLst>
              <p:tags r:id="rId117"/>
            </p:custDataLst>
          </p:nvPr>
        </p:nvCxnSpPr>
        <p:spPr bwMode="auto">
          <a:xfrm flipH="1">
            <a:off x="7739063" y="4760913"/>
            <a:ext cx="603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2" name="Straight Connector 421">
            <a:extLst>
              <a:ext uri="{FF2B5EF4-FFF2-40B4-BE49-F238E27FC236}">
                <a16:creationId xmlns:a16="http://schemas.microsoft.com/office/drawing/2014/main" id="{AD94A2AB-BD6F-4791-92A8-7F8408ABF453}"/>
              </a:ext>
            </a:extLst>
          </p:cNvPr>
          <p:cNvCxnSpPr/>
          <p:nvPr>
            <p:custDataLst>
              <p:tags r:id="rId118"/>
            </p:custDataLst>
          </p:nvPr>
        </p:nvCxnSpPr>
        <p:spPr bwMode="auto">
          <a:xfrm flipH="1">
            <a:off x="7704138" y="3856038"/>
            <a:ext cx="254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5" name="Straight Connector 424">
            <a:extLst>
              <a:ext uri="{FF2B5EF4-FFF2-40B4-BE49-F238E27FC236}">
                <a16:creationId xmlns:a16="http://schemas.microsoft.com/office/drawing/2014/main" id="{F775DA0D-81D8-4C4D-8548-F7F86D342B21}"/>
              </a:ext>
            </a:extLst>
          </p:cNvPr>
          <p:cNvCxnSpPr/>
          <p:nvPr>
            <p:custDataLst>
              <p:tags r:id="rId119"/>
            </p:custDataLst>
          </p:nvPr>
        </p:nvCxnSpPr>
        <p:spPr bwMode="auto">
          <a:xfrm flipH="1">
            <a:off x="7726363" y="3176588"/>
            <a:ext cx="476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4" name="Straight Connector 423">
            <a:extLst>
              <a:ext uri="{FF2B5EF4-FFF2-40B4-BE49-F238E27FC236}">
                <a16:creationId xmlns:a16="http://schemas.microsoft.com/office/drawing/2014/main" id="{A84AA954-BA75-4741-8692-894D645441ED}"/>
              </a:ext>
            </a:extLst>
          </p:cNvPr>
          <p:cNvCxnSpPr/>
          <p:nvPr>
            <p:custDataLst>
              <p:tags r:id="rId120"/>
            </p:custDataLst>
          </p:nvPr>
        </p:nvCxnSpPr>
        <p:spPr bwMode="auto">
          <a:xfrm flipH="1">
            <a:off x="7704138" y="2498725"/>
            <a:ext cx="254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8" name="Straight Connector 427">
            <a:extLst>
              <a:ext uri="{FF2B5EF4-FFF2-40B4-BE49-F238E27FC236}">
                <a16:creationId xmlns:a16="http://schemas.microsoft.com/office/drawing/2014/main" id="{E85DEE7E-E4E0-4381-9860-9FE0191B474D}"/>
              </a:ext>
            </a:extLst>
          </p:cNvPr>
          <p:cNvCxnSpPr/>
          <p:nvPr>
            <p:custDataLst>
              <p:tags r:id="rId121"/>
            </p:custDataLst>
          </p:nvPr>
        </p:nvCxnSpPr>
        <p:spPr bwMode="auto">
          <a:xfrm flipH="1">
            <a:off x="7770813" y="5438775"/>
            <a:ext cx="904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6" name="Straight Connector 425">
            <a:extLst>
              <a:ext uri="{FF2B5EF4-FFF2-40B4-BE49-F238E27FC236}">
                <a16:creationId xmlns:a16="http://schemas.microsoft.com/office/drawing/2014/main" id="{BB5432F9-8784-4730-9F47-3F4434A6503E}"/>
              </a:ext>
            </a:extLst>
          </p:cNvPr>
          <p:cNvCxnSpPr/>
          <p:nvPr>
            <p:custDataLst>
              <p:tags r:id="rId122"/>
            </p:custDataLst>
          </p:nvPr>
        </p:nvCxnSpPr>
        <p:spPr bwMode="auto">
          <a:xfrm flipH="1">
            <a:off x="7704138" y="4986338"/>
            <a:ext cx="254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7" name="Straight Connector 426">
            <a:extLst>
              <a:ext uri="{FF2B5EF4-FFF2-40B4-BE49-F238E27FC236}">
                <a16:creationId xmlns:a16="http://schemas.microsoft.com/office/drawing/2014/main" id="{EF285A6D-6B49-4CC4-B403-5BD9F28F4D81}"/>
              </a:ext>
            </a:extLst>
          </p:cNvPr>
          <p:cNvCxnSpPr/>
          <p:nvPr>
            <p:custDataLst>
              <p:tags r:id="rId123"/>
            </p:custDataLst>
          </p:nvPr>
        </p:nvCxnSpPr>
        <p:spPr bwMode="auto">
          <a:xfrm flipH="1">
            <a:off x="7737475" y="5213350"/>
            <a:ext cx="571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9" name="Straight Connector 428">
            <a:extLst>
              <a:ext uri="{FF2B5EF4-FFF2-40B4-BE49-F238E27FC236}">
                <a16:creationId xmlns:a16="http://schemas.microsoft.com/office/drawing/2014/main" id="{B34DC1E5-7A84-45AC-A9F8-7C650DEBE5FD}"/>
              </a:ext>
            </a:extLst>
          </p:cNvPr>
          <p:cNvCxnSpPr/>
          <p:nvPr>
            <p:custDataLst>
              <p:tags r:id="rId124"/>
            </p:custDataLst>
          </p:nvPr>
        </p:nvCxnSpPr>
        <p:spPr bwMode="auto">
          <a:xfrm flipH="1">
            <a:off x="7704138" y="5665788"/>
            <a:ext cx="254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31" name="Text Placeholder 20">
            <a:extLst>
              <a:ext uri="{FF2B5EF4-FFF2-40B4-BE49-F238E27FC236}">
                <a16:creationId xmlns:a16="http://schemas.microsoft.com/office/drawing/2014/main" id="{C789CB87-BE05-4F05-95A4-AF9166C28D16}"/>
              </a:ext>
            </a:extLst>
          </p:cNvPr>
          <p:cNvSpPr>
            <a:spLocks noGrp="1"/>
          </p:cNvSpPr>
          <p:nvPr>
            <p:custDataLst>
              <p:tags r:id="rId125"/>
            </p:custDataLst>
          </p:nvPr>
        </p:nvSpPr>
        <p:spPr bwMode="gray">
          <a:xfrm>
            <a:off x="8062913" y="2217738"/>
            <a:ext cx="32543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  <a:defRPr/>
            </a:pPr>
            <a:fld id="{3D448F9F-42F9-4365-ABF3-E9D34444E773}" type="datetime'1.''''''''''''''''1''''''''''''''''''''''6''7'''''''">
              <a:rPr lang="en-US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SzPct val="100000"/>
                <a:buNone/>
                <a:defRPr/>
              </a:pPr>
              <a:t>1.167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434" name="Text Placeholder 20">
            <a:extLst>
              <a:ext uri="{FF2B5EF4-FFF2-40B4-BE49-F238E27FC236}">
                <a16:creationId xmlns:a16="http://schemas.microsoft.com/office/drawing/2014/main" id="{7B1260D1-D6DE-4F08-88AA-3955E9A4CA6A}"/>
              </a:ext>
            </a:extLst>
          </p:cNvPr>
          <p:cNvSpPr>
            <a:spLocks noGrp="1"/>
          </p:cNvSpPr>
          <p:nvPr>
            <p:custDataLst>
              <p:tags r:id="rId126"/>
            </p:custDataLst>
          </p:nvPr>
        </p:nvSpPr>
        <p:spPr bwMode="gray">
          <a:xfrm>
            <a:off x="7729538" y="4932363"/>
            <a:ext cx="9366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SzPct val="100000"/>
              <a:buNone/>
              <a:defRPr/>
            </a:pPr>
            <a:fld id="{10B13459-2580-4F4A-8AC3-9A27C50A8DAB}" type="datetime'''''''''''0'''''''''''''''''''''''''''''">
              <a:rPr lang="en-US" altLang="en-US" sz="800" smtClean="0">
                <a:solidFill>
                  <a:srgbClr val="000000"/>
                </a:solidFill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SzPct val="100000"/>
                <a:buNone/>
                <a:defRPr/>
              </a:pPr>
              <a:t>0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432" name="Text Placeholder 20">
            <a:extLst>
              <a:ext uri="{FF2B5EF4-FFF2-40B4-BE49-F238E27FC236}">
                <a16:creationId xmlns:a16="http://schemas.microsoft.com/office/drawing/2014/main" id="{CD2C1529-05B5-4EFD-A854-EA024F29A114}"/>
              </a:ext>
            </a:extLst>
          </p:cNvPr>
          <p:cNvSpPr>
            <a:spLocks noGrp="1"/>
          </p:cNvSpPr>
          <p:nvPr>
            <p:custDataLst>
              <p:tags r:id="rId127"/>
            </p:custDataLst>
          </p:nvPr>
        </p:nvSpPr>
        <p:spPr bwMode="gray">
          <a:xfrm>
            <a:off x="7729538" y="2444750"/>
            <a:ext cx="9366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SzPct val="100000"/>
              <a:buNone/>
              <a:defRPr/>
            </a:pPr>
            <a:fld id="{40F5A89D-805E-406C-8E38-B64E78BD093F}" type="datetime'''0'''''''''''''">
              <a:rPr lang="en-US" altLang="en-US" sz="800" smtClean="0">
                <a:solidFill>
                  <a:srgbClr val="000000"/>
                </a:solidFill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SzPct val="100000"/>
                <a:buNone/>
                <a:defRPr/>
              </a:pPr>
              <a:t>0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430" name="Text Placeholder 20">
            <a:extLst>
              <a:ext uri="{FF2B5EF4-FFF2-40B4-BE49-F238E27FC236}">
                <a16:creationId xmlns:a16="http://schemas.microsoft.com/office/drawing/2014/main" id="{5A4BE29D-6470-45E8-B791-017E9AA8EBA8}"/>
              </a:ext>
            </a:extLst>
          </p:cNvPr>
          <p:cNvSpPr>
            <a:spLocks noGrp="1"/>
          </p:cNvSpPr>
          <p:nvPr>
            <p:custDataLst>
              <p:tags r:id="rId128"/>
            </p:custDataLst>
          </p:nvPr>
        </p:nvSpPr>
        <p:spPr bwMode="gray">
          <a:xfrm>
            <a:off x="7729538" y="5611813"/>
            <a:ext cx="9366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SzPct val="100000"/>
              <a:buNone/>
              <a:defRPr/>
            </a:pPr>
            <a:fld id="{2E6EC3B6-D3A8-45D6-A9FD-9407A7FF8444}" type="datetime'''''''''''''''''''''''''''''''''''''0'''''''''''''''''''''''">
              <a:rPr lang="en-US" altLang="en-US" sz="800" smtClean="0">
                <a:solidFill>
                  <a:srgbClr val="000000"/>
                </a:solidFill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SzPct val="100000"/>
                <a:buNone/>
                <a:defRPr/>
              </a:pPr>
              <a:t>0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433" name="Text Placeholder 20">
            <a:extLst>
              <a:ext uri="{FF2B5EF4-FFF2-40B4-BE49-F238E27FC236}">
                <a16:creationId xmlns:a16="http://schemas.microsoft.com/office/drawing/2014/main" id="{40A790A3-F287-4584-8C6C-A8E0C974ED82}"/>
              </a:ext>
            </a:extLst>
          </p:cNvPr>
          <p:cNvSpPr>
            <a:spLocks noGrp="1"/>
          </p:cNvSpPr>
          <p:nvPr>
            <p:custDataLst>
              <p:tags r:id="rId129"/>
            </p:custDataLst>
          </p:nvPr>
        </p:nvSpPr>
        <p:spPr bwMode="gray">
          <a:xfrm>
            <a:off x="7729538" y="3802063"/>
            <a:ext cx="9366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SzPct val="100000"/>
              <a:buNone/>
              <a:defRPr/>
            </a:pPr>
            <a:fld id="{16AD7CE8-77DE-4260-B4D8-808FE5F59D7C}" type="datetime'''''''''''''''''0'''''''''''''''''''''''''''''">
              <a:rPr lang="en-US" altLang="en-US" sz="800" smtClean="0">
                <a:solidFill>
                  <a:srgbClr val="000000"/>
                </a:solidFill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SzPct val="100000"/>
                <a:buNone/>
                <a:defRPr/>
              </a:pPr>
              <a:t>0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435" name="Text Placeholder 20">
            <a:extLst>
              <a:ext uri="{FF2B5EF4-FFF2-40B4-BE49-F238E27FC236}">
                <a16:creationId xmlns:a16="http://schemas.microsoft.com/office/drawing/2014/main" id="{626208A6-A1BE-491B-9654-4B371D7D1744}"/>
              </a:ext>
            </a:extLst>
          </p:cNvPr>
          <p:cNvSpPr>
            <a:spLocks noGrp="1"/>
          </p:cNvSpPr>
          <p:nvPr>
            <p:custDataLst>
              <p:tags r:id="rId130"/>
            </p:custDataLst>
          </p:nvPr>
        </p:nvSpPr>
        <p:spPr bwMode="gray">
          <a:xfrm>
            <a:off x="7689850" y="5837238"/>
            <a:ext cx="223838" cy="109538"/>
          </a:xfrm>
          <a:prstGeom prst="rect">
            <a:avLst/>
          </a:prstGeom>
          <a:solidFill>
            <a:srgbClr val="969696"/>
          </a:solidFill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44CDC5F1-32C3-40B2-B0F6-3C3E9FE38B1F}" type="datetime'''''''''''''''''''''2''''''''''''''''''''''''''''''''1''''''6'">
              <a:rPr lang="en-US" altLang="en-US" sz="800" smtClean="0">
                <a:solidFill>
                  <a:srgbClr val="000000"/>
                </a:solidFill>
                <a:effectLst/>
              </a:rPr>
              <a:pPr/>
              <a:t>216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+mn-cs"/>
            </a:endParaRPr>
          </a:p>
        </p:txBody>
      </p:sp>
      <p:sp>
        <p:nvSpPr>
          <p:cNvPr id="436" name="Text Placeholder 20">
            <a:extLst>
              <a:ext uri="{FF2B5EF4-FFF2-40B4-BE49-F238E27FC236}">
                <a16:creationId xmlns:a16="http://schemas.microsoft.com/office/drawing/2014/main" id="{A0A7F312-F72E-484F-9025-2BB3E4143E84}"/>
              </a:ext>
            </a:extLst>
          </p:cNvPr>
          <p:cNvSpPr>
            <a:spLocks noGrp="1"/>
          </p:cNvSpPr>
          <p:nvPr>
            <p:custDataLst>
              <p:tags r:id="rId131"/>
            </p:custDataLst>
          </p:nvPr>
        </p:nvSpPr>
        <p:spPr bwMode="gray">
          <a:xfrm>
            <a:off x="7680325" y="6064250"/>
            <a:ext cx="223838" cy="109538"/>
          </a:xfrm>
          <a:prstGeom prst="rect">
            <a:avLst/>
          </a:prstGeom>
          <a:solidFill>
            <a:srgbClr val="969696"/>
          </a:solidFill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fld id="{03FDF674-08B0-476B-813A-5E5F3A46EDEA}" type="datetime'''''''''1''''''''''''''''''''''''9''''''''8'''''''">
              <a:rPr lang="en-US" altLang="en-US" sz="800" smtClean="0">
                <a:solidFill>
                  <a:srgbClr val="000000"/>
                </a:solidFill>
                <a:effectLst/>
              </a:rPr>
              <a:pPr/>
              <a:t>198</a:t>
            </a:fld>
            <a:endParaRPr kumimoji="0" lang="ru-RU" sz="8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+mn-cs"/>
            </a:endParaRPr>
          </a:p>
        </p:txBody>
      </p:sp>
      <p:pic>
        <p:nvPicPr>
          <p:cNvPr id="437" name="Picture 436" descr="Logo&#10;&#10;Description automatically generated">
            <a:extLst>
              <a:ext uri="{FF2B5EF4-FFF2-40B4-BE49-F238E27FC236}">
                <a16:creationId xmlns:a16="http://schemas.microsoft.com/office/drawing/2014/main" id="{FA1C879E-5579-48B4-B634-CB471CCBC81E}"/>
              </a:ext>
            </a:extLst>
          </p:cNvPr>
          <p:cNvPicPr>
            <a:picLocks noChangeAspect="1"/>
          </p:cNvPicPr>
          <p:nvPr/>
        </p:nvPicPr>
        <p:blipFill>
          <a:blip r:embed="rId1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3894" y="1532386"/>
            <a:ext cx="1068249" cy="387220"/>
          </a:xfrm>
          <a:prstGeom prst="rect">
            <a:avLst/>
          </a:prstGeom>
        </p:spPr>
      </p:pic>
      <p:sp>
        <p:nvSpPr>
          <p:cNvPr id="33" name="Slide Number Placeholder 32">
            <a:extLst>
              <a:ext uri="{FF2B5EF4-FFF2-40B4-BE49-F238E27FC236}">
                <a16:creationId xmlns:a16="http://schemas.microsoft.com/office/drawing/2014/main" id="{C5C067AD-968F-43D2-BA14-C8A9E4CADA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6D2641-81B4-4FA9-AABA-CD0BE301EB4F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519182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9FBDCD-8AFA-4187-9760-F291DAA622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3813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378" imgH="377" progId="TCLayout.ActiveDocument.1">
                  <p:embed/>
                </p:oleObj>
              </mc:Choice>
              <mc:Fallback>
                <p:oleObj name="think-cell Slide" r:id="rId32" imgW="378" imgH="37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9FBDCD-8AFA-4187-9760-F291DAA622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9D2EED29-78DF-4B1D-8694-771DA455D40C}"/>
              </a:ext>
            </a:extLst>
          </p:cNvPr>
          <p:cNvSpPr txBox="1"/>
          <p:nvPr/>
        </p:nvSpPr>
        <p:spPr>
          <a:xfrm>
            <a:off x="688185" y="556502"/>
            <a:ext cx="7410786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1B262A"/>
                </a:solidFill>
                <a:latin typeface="ITC Avant Garde Pro Md" panose="020B0602020202020204" pitchFamily="34" charset="0"/>
              </a:rPr>
              <a:t>Competitor analysis</a:t>
            </a:r>
          </a:p>
        </p:txBody>
      </p:sp>
      <p:graphicFrame>
        <p:nvGraphicFramePr>
          <p:cNvPr id="58" name="Chart 57">
            <a:extLst>
              <a:ext uri="{FF2B5EF4-FFF2-40B4-BE49-F238E27FC236}">
                <a16:creationId xmlns:a16="http://schemas.microsoft.com/office/drawing/2014/main" id="{D121205D-4AFD-43F4-8B60-0CC344DEE8BA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5969836"/>
              </p:ext>
            </p:extLst>
          </p:nvPr>
        </p:nvGraphicFramePr>
        <p:xfrm>
          <a:off x="857250" y="1654175"/>
          <a:ext cx="10707688" cy="15890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76380E46-6631-40D2-BF32-D718007E6E21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6904038" y="3203575"/>
            <a:ext cx="3683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FC1DEABE-7C21-45CA-B026-AFD9DDB6AA6F}" type="datetime'''''''''''''''''''''''''L''''''''''en''''t''a'''''''''''''''''">
              <a:rPr lang="en-US" altLang="en-US" sz="1000" smtClean="0">
                <a:ea typeface="+mn-ea"/>
              </a:rPr>
              <a:pPr/>
              <a:t>Lenta</a:t>
            </a:fld>
            <a:endParaRPr lang="en-US" sz="1000" dirty="0">
              <a:latin typeface="+mn-lt"/>
              <a:ea typeface="+mn-ea"/>
            </a:endParaRPr>
          </a:p>
        </p:txBody>
      </p:sp>
      <p:sp>
        <p:nvSpPr>
          <p:cNvPr id="8" name="Text Placeholder 20">
            <a:extLst>
              <a:ext uri="{FF2B5EF4-FFF2-40B4-BE49-F238E27FC236}">
                <a16:creationId xmlns:a16="http://schemas.microsoft.com/office/drawing/2014/main" id="{46D65ECF-3A38-482F-9E0D-97A91D211096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506538" y="3203575"/>
            <a:ext cx="6223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BC0F27FB-4E47-440A-9F74-9D5B4E5C53F3}" type="datetime'M''a''''''''''''''''g''''''''nu''m'''''''''''''">
              <a:rPr lang="en-US" altLang="en-US" sz="1000" b="1" smtClean="0">
                <a:ea typeface="+mn-ea"/>
              </a:rPr>
              <a:pPr/>
              <a:t>Magnum</a:t>
            </a:fld>
            <a:endParaRPr lang="en-US" sz="1000" b="1" dirty="0">
              <a:latin typeface="+mn-lt"/>
              <a:ea typeface="+mn-ea"/>
            </a:endParaRP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C851DFB6-DF73-4AB1-A726-A6D5E215A3C3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3411538" y="1574800"/>
            <a:ext cx="3270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4C0D74FC-F1D4-4D46-8E30-F56FE4B75D24}" type="datetime'''''''''''''1''''.''3''5''''''5'''''''''''''''''''''''''">
              <a:rPr lang="en-US" altLang="en-US" sz="1000" smtClean="0">
                <a:latin typeface="+mn-lt"/>
                <a:ea typeface="+mn-ea"/>
              </a:rPr>
              <a:pPr/>
              <a:t>1.355</a:t>
            </a:fld>
            <a:endParaRPr lang="en-US" sz="1000" dirty="0">
              <a:latin typeface="+mn-lt"/>
              <a:ea typeface="+mn-ea"/>
            </a:endParaRP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FB5DAF8E-E3E8-40CD-A970-72FB45E1468E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190875" y="3203575"/>
            <a:ext cx="7699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632A04C6-B9DC-4D45-90CA-614137FAC73E}" type="datetime'''''''''''P''''''''er''e''kre''''''''''''stok'''''''''">
              <a:rPr lang="en-US" altLang="en-US" sz="1000" smtClean="0">
                <a:ea typeface="+mn-ea"/>
              </a:rPr>
              <a:pPr/>
              <a:t>Perekrestok</a:t>
            </a:fld>
            <a:endParaRPr lang="en-US" sz="1000" dirty="0">
              <a:latin typeface="+mn-lt"/>
              <a:ea typeface="+mn-ea"/>
            </a:endParaRP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6089009F-4F20-47CD-A3DA-9BFB86A80540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065713" y="3203575"/>
            <a:ext cx="5349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46E1B01C-257A-4E25-A003-7480196C6B6D}" type="datetime'''''''''''''''''''U''''''''''''t''''''ko''''''''''no''s'''''''">
              <a:rPr lang="en-US" altLang="en-US" sz="1000" smtClean="0">
                <a:ea typeface="+mn-ea"/>
              </a:rPr>
              <a:pPr/>
              <a:t>Utkonos</a:t>
            </a:fld>
            <a:endParaRPr lang="en-US" sz="1000" dirty="0">
              <a:latin typeface="+mn-lt"/>
              <a:ea typeface="+mn-ea"/>
            </a:endParaRP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9E0488E9-F703-47ED-96F2-EA82FCAB05AD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8655050" y="3203575"/>
            <a:ext cx="3810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BBABAB0E-B6AC-42E8-9D2F-C2267FD9EC6B}" type="datetime'''''''''''''''A''''''''rb''''''''''u''''''z'''''''''''">
              <a:rPr lang="en-US" altLang="en-US" sz="1000" smtClean="0">
                <a:ea typeface="+mn-ea"/>
              </a:rPr>
              <a:pPr/>
              <a:t>Arbuz</a:t>
            </a:fld>
            <a:endParaRPr lang="en-US" sz="1000" dirty="0">
              <a:latin typeface="+mn-lt"/>
              <a:ea typeface="+mn-ea"/>
            </a:endParaRP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5698F447-04FD-46AF-B30C-DFCC29960D15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5168900" y="1812925"/>
            <a:ext cx="3270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7FCFDCDD-C5E4-4441-A983-CA3461B41972}" type="datetime'''''''''1.''1''''''''''''''''''''2''''''''''''9'''''''''">
              <a:rPr lang="en-US" altLang="en-US" sz="1000" smtClean="0">
                <a:latin typeface="+mn-lt"/>
                <a:ea typeface="+mn-ea"/>
              </a:rPr>
              <a:pPr/>
              <a:t>1.129</a:t>
            </a:fld>
            <a:endParaRPr lang="en-US" sz="1000" dirty="0">
              <a:latin typeface="+mn-lt"/>
              <a:ea typeface="+mn-ea"/>
            </a:endParaRP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B8106CA2-79C6-457F-82AB-8CE951111E37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0269538" y="3203575"/>
            <a:ext cx="6683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375D3D60-1945-429B-A173-1094239B1A2C}" type="datetime'''''''''''L''''e''''''''nt''''''''''oc''hk''''''''a'''''''">
              <a:rPr lang="en-US" altLang="en-US" sz="1000" smtClean="0">
                <a:ea typeface="+mn-ea"/>
              </a:rPr>
              <a:pPr/>
              <a:t>Lentochka</a:t>
            </a:fld>
            <a:endParaRPr lang="en-US" sz="1000" dirty="0">
              <a:latin typeface="+mn-lt"/>
              <a:ea typeface="+mn-ea"/>
            </a:endParaRPr>
          </a:p>
        </p:txBody>
      </p:sp>
      <p:graphicFrame>
        <p:nvGraphicFramePr>
          <p:cNvPr id="60" name="Chart 59">
            <a:extLst>
              <a:ext uri="{FF2B5EF4-FFF2-40B4-BE49-F238E27FC236}">
                <a16:creationId xmlns:a16="http://schemas.microsoft.com/office/drawing/2014/main" id="{BB6C514A-67D0-4318-8DA0-6B3206939AB5}"/>
              </a:ext>
            </a:extLst>
          </p:cNvPr>
          <p:cNvGraphicFramePr/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175135421"/>
              </p:ext>
            </p:extLst>
          </p:nvPr>
        </p:nvGraphicFramePr>
        <p:xfrm>
          <a:off x="611188" y="4284663"/>
          <a:ext cx="2157412" cy="1630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graphicFrame>
        <p:nvGraphicFramePr>
          <p:cNvPr id="61" name="Chart 60">
            <a:extLst>
              <a:ext uri="{FF2B5EF4-FFF2-40B4-BE49-F238E27FC236}">
                <a16:creationId xmlns:a16="http://schemas.microsoft.com/office/drawing/2014/main" id="{A2DD8E2A-A899-4607-B1D3-2295ACB49D45}"/>
              </a:ext>
            </a:extLst>
          </p:cNvPr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501349047"/>
              </p:ext>
            </p:extLst>
          </p:nvPr>
        </p:nvGraphicFramePr>
        <p:xfrm>
          <a:off x="2422525" y="4284663"/>
          <a:ext cx="2157413" cy="1630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sp>
        <p:nvSpPr>
          <p:cNvPr id="20" name="Text Placeholder 20">
            <a:extLst>
              <a:ext uri="{FF2B5EF4-FFF2-40B4-BE49-F238E27FC236}">
                <a16:creationId xmlns:a16="http://schemas.microsoft.com/office/drawing/2014/main" id="{E7476A00-9036-49D5-9B8F-8F5655B71E2D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3321050" y="4581525"/>
            <a:ext cx="304800" cy="109538"/>
          </a:xfrm>
          <a:prstGeom prst="rect">
            <a:avLst/>
          </a:prstGeom>
          <a:solidFill>
            <a:srgbClr val="C3CFE1"/>
          </a:solidFill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ABBC87F7-508F-4D9B-942E-E10338660CC9}" type="datetime'''''''''''1'''''''''''''''''''''''''''',''''''''''''''''8%'">
              <a:rPr lang="en-US" altLang="en-US" sz="800" smtClean="0">
                <a:effectLst/>
                <a:ea typeface="+mn-ea"/>
              </a:rPr>
              <a:pPr/>
              <a:t>1,8%</a:t>
            </a:fld>
            <a:endParaRPr lang="en-US" sz="800" dirty="0">
              <a:latin typeface="+mn-lt"/>
              <a:ea typeface="+mn-ea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7730B90-5E96-4B3B-8C0C-FA052CA9EA55}"/>
              </a:ext>
            </a:extLst>
          </p:cNvPr>
          <p:cNvSpPr txBox="1"/>
          <p:nvPr/>
        </p:nvSpPr>
        <p:spPr bwMode="gray">
          <a:xfrm>
            <a:off x="1073150" y="4138613"/>
            <a:ext cx="1214437" cy="1793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000" b="1" dirty="0">
                <a:solidFill>
                  <a:sysClr val="windowText" lastClr="000000"/>
                </a:solidFill>
                <a:latin typeface="Verdana"/>
                <a:ea typeface="+mj-ea"/>
                <a:cs typeface="+mj-cs"/>
              </a:rPr>
              <a:t>Magnum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Verdana"/>
              <a:ea typeface="+mj-ea"/>
              <a:cs typeface="+mj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8866459-8EC9-4011-94E0-5F51EC32FEEA}"/>
              </a:ext>
            </a:extLst>
          </p:cNvPr>
          <p:cNvSpPr txBox="1"/>
          <p:nvPr/>
        </p:nvSpPr>
        <p:spPr bwMode="gray">
          <a:xfrm>
            <a:off x="2924969" y="4138613"/>
            <a:ext cx="1214437" cy="1793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000" dirty="0" err="1">
                <a:solidFill>
                  <a:sysClr val="windowText" lastClr="000000"/>
                </a:solidFill>
                <a:latin typeface="Verdana"/>
                <a:ea typeface="+mj-ea"/>
                <a:cs typeface="+mj-cs"/>
              </a:rPr>
              <a:t>Perekrestok</a:t>
            </a:r>
            <a:endParaRPr kumimoji="0" lang="en-US" sz="100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Verdana"/>
              <a:ea typeface="+mj-ea"/>
              <a:cs typeface="+mj-cs"/>
            </a:endParaRPr>
          </a:p>
        </p:txBody>
      </p:sp>
      <p:graphicFrame>
        <p:nvGraphicFramePr>
          <p:cNvPr id="62" name="Chart 61">
            <a:extLst>
              <a:ext uri="{FF2B5EF4-FFF2-40B4-BE49-F238E27FC236}">
                <a16:creationId xmlns:a16="http://schemas.microsoft.com/office/drawing/2014/main" id="{F116D3B8-C2C2-487E-AA32-BE9DF151C834}"/>
              </a:ext>
            </a:extLst>
          </p:cNvPr>
          <p:cNvGraphicFramePr/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917967408"/>
              </p:ext>
            </p:extLst>
          </p:nvPr>
        </p:nvGraphicFramePr>
        <p:xfrm>
          <a:off x="4244975" y="4284663"/>
          <a:ext cx="2157413" cy="1630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449F02B0-B35C-4196-82F7-47DC626429A0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5129213" y="4602163"/>
            <a:ext cx="304800" cy="109538"/>
          </a:xfrm>
          <a:prstGeom prst="rect">
            <a:avLst/>
          </a:prstGeom>
          <a:solidFill>
            <a:srgbClr val="C3CFE1"/>
          </a:solidFill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2F719930-49E5-4FD1-BA8C-E0A39ECD2CDC}" type="datetime'''''''''''''''''''2,1''''''''%'''''''''''''''''">
              <a:rPr lang="en-US" altLang="en-US" sz="800" smtClean="0">
                <a:effectLst/>
                <a:ea typeface="+mn-ea"/>
              </a:rPr>
              <a:pPr/>
              <a:t>2,1%</a:t>
            </a:fld>
            <a:endParaRPr lang="en-US" sz="800" dirty="0">
              <a:latin typeface="+mn-lt"/>
              <a:ea typeface="+mn-ea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5B7F365-4E41-48D8-94DB-884E54F8C510}"/>
              </a:ext>
            </a:extLst>
          </p:cNvPr>
          <p:cNvSpPr txBox="1"/>
          <p:nvPr/>
        </p:nvSpPr>
        <p:spPr bwMode="gray">
          <a:xfrm>
            <a:off x="4737100" y="4138613"/>
            <a:ext cx="1212850" cy="1793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000" dirty="0" err="1">
                <a:solidFill>
                  <a:sysClr val="windowText" lastClr="000000"/>
                </a:solidFill>
                <a:latin typeface="Verdana"/>
                <a:ea typeface="+mj-ea"/>
                <a:cs typeface="+mj-cs"/>
              </a:rPr>
              <a:t>Utkonos</a:t>
            </a:r>
            <a:endParaRPr kumimoji="0" lang="en-US" sz="100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Verdana"/>
              <a:ea typeface="+mj-ea"/>
              <a:cs typeface="+mj-cs"/>
            </a:endParaRPr>
          </a:p>
        </p:txBody>
      </p:sp>
      <p:graphicFrame>
        <p:nvGraphicFramePr>
          <p:cNvPr id="63" name="Chart 62">
            <a:extLst>
              <a:ext uri="{FF2B5EF4-FFF2-40B4-BE49-F238E27FC236}">
                <a16:creationId xmlns:a16="http://schemas.microsoft.com/office/drawing/2014/main" id="{AA5AB40B-4BFE-499E-8E9B-1B6DF73DD3D2}"/>
              </a:ext>
            </a:extLst>
          </p:cNvPr>
          <p:cNvGraphicFramePr/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867759752"/>
              </p:ext>
            </p:extLst>
          </p:nvPr>
        </p:nvGraphicFramePr>
        <p:xfrm>
          <a:off x="6046788" y="4284663"/>
          <a:ext cx="2157412" cy="1630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8"/>
          </a:graphicData>
        </a:graphic>
      </p:graphicFrame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1B0040BE-1E36-4E90-9ADD-E1DBA3FC31E9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6842125" y="4429125"/>
            <a:ext cx="304800" cy="109538"/>
          </a:xfrm>
          <a:prstGeom prst="rect">
            <a:avLst/>
          </a:prstGeom>
          <a:solidFill>
            <a:srgbClr val="C3CFE1"/>
          </a:solidFill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BFF396E9-6667-4751-9D30-C7AB0F8194A1}" type="datetime'''''''''6'''''''''',''''''''''''5''%'">
              <a:rPr lang="en-US" altLang="en-US" sz="800" smtClean="0">
                <a:effectLst/>
                <a:ea typeface="+mn-ea"/>
              </a:rPr>
              <a:pPr/>
              <a:t>6,5%</a:t>
            </a:fld>
            <a:endParaRPr lang="en-US" sz="800" dirty="0">
              <a:latin typeface="+mn-lt"/>
              <a:ea typeface="+mn-ea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5F807A5-3AFF-4626-9496-3ED10D37D36F}"/>
              </a:ext>
            </a:extLst>
          </p:cNvPr>
          <p:cNvSpPr txBox="1"/>
          <p:nvPr/>
        </p:nvSpPr>
        <p:spPr bwMode="gray">
          <a:xfrm>
            <a:off x="6548438" y="4138613"/>
            <a:ext cx="1212850" cy="1793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000" dirty="0" err="1">
                <a:solidFill>
                  <a:sysClr val="windowText" lastClr="000000"/>
                </a:solidFill>
                <a:latin typeface="Verdana"/>
                <a:ea typeface="+mj-ea"/>
                <a:cs typeface="+mj-cs"/>
              </a:rPr>
              <a:t>Lenta</a:t>
            </a:r>
            <a:endParaRPr kumimoji="0" lang="en-US" sz="100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Verdana"/>
              <a:ea typeface="+mj-ea"/>
              <a:cs typeface="+mj-cs"/>
            </a:endParaRPr>
          </a:p>
        </p:txBody>
      </p:sp>
      <p:graphicFrame>
        <p:nvGraphicFramePr>
          <p:cNvPr id="64" name="Chart 63">
            <a:extLst>
              <a:ext uri="{FF2B5EF4-FFF2-40B4-BE49-F238E27FC236}">
                <a16:creationId xmlns:a16="http://schemas.microsoft.com/office/drawing/2014/main" id="{71C05F2E-1FA9-44D5-B6B6-355384708041}"/>
              </a:ext>
            </a:extLst>
          </p:cNvPr>
          <p:cNvGraphicFramePr/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4263534029"/>
              </p:ext>
            </p:extLst>
          </p:nvPr>
        </p:nvGraphicFramePr>
        <p:xfrm>
          <a:off x="7872413" y="4284663"/>
          <a:ext cx="2157412" cy="1630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9"/>
          </a:graphicData>
        </a:graphic>
      </p:graphicFrame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F5C6FDBF-598C-458C-B91E-1BACF01DFE4D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8747125" y="4586288"/>
            <a:ext cx="304800" cy="109538"/>
          </a:xfrm>
          <a:prstGeom prst="rect">
            <a:avLst/>
          </a:prstGeom>
          <a:solidFill>
            <a:srgbClr val="C3CFE1"/>
          </a:solidFill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77A1DC35-9488-4782-8E1C-826E8F4A0D29}" type="datetime'''''''''''''2'''''',4''''''''''%'">
              <a:rPr lang="en-US" altLang="en-US" sz="800" smtClean="0">
                <a:effectLst/>
                <a:ea typeface="+mn-ea"/>
              </a:rPr>
              <a:pPr/>
              <a:t>2,4%</a:t>
            </a:fld>
            <a:endParaRPr lang="en-US" sz="800" dirty="0">
              <a:latin typeface="+mn-lt"/>
              <a:ea typeface="+mn-ea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0B4838D-0390-42A3-9DEC-9D2A5D10964B}"/>
              </a:ext>
            </a:extLst>
          </p:cNvPr>
          <p:cNvSpPr txBox="1"/>
          <p:nvPr/>
        </p:nvSpPr>
        <p:spPr bwMode="gray">
          <a:xfrm>
            <a:off x="8359775" y="4138613"/>
            <a:ext cx="1212850" cy="1793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000" dirty="0" err="1">
                <a:solidFill>
                  <a:sysClr val="windowText" lastClr="000000"/>
                </a:solidFill>
                <a:latin typeface="Verdana"/>
                <a:ea typeface="+mj-ea"/>
                <a:cs typeface="+mj-cs"/>
              </a:rPr>
              <a:t>Arbuz</a:t>
            </a:r>
            <a:endParaRPr kumimoji="0" lang="en-US" sz="100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Verdana"/>
              <a:ea typeface="+mj-ea"/>
              <a:cs typeface="+mj-cs"/>
            </a:endParaRPr>
          </a:p>
        </p:txBody>
      </p:sp>
      <p:graphicFrame>
        <p:nvGraphicFramePr>
          <p:cNvPr id="65" name="Chart 64">
            <a:extLst>
              <a:ext uri="{FF2B5EF4-FFF2-40B4-BE49-F238E27FC236}">
                <a16:creationId xmlns:a16="http://schemas.microsoft.com/office/drawing/2014/main" id="{6CD89908-C64B-45B9-A8F5-93030335EDD3}"/>
              </a:ext>
            </a:extLst>
          </p:cNvPr>
          <p:cNvGraphicFramePr/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631240757"/>
              </p:ext>
            </p:extLst>
          </p:nvPr>
        </p:nvGraphicFramePr>
        <p:xfrm>
          <a:off x="9669463" y="4284663"/>
          <a:ext cx="2157412" cy="1630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0"/>
          </a:graphicData>
        </a:graphic>
      </p:graphicFrame>
      <p:sp>
        <p:nvSpPr>
          <p:cNvPr id="35" name="TextBox 34">
            <a:extLst>
              <a:ext uri="{FF2B5EF4-FFF2-40B4-BE49-F238E27FC236}">
                <a16:creationId xmlns:a16="http://schemas.microsoft.com/office/drawing/2014/main" id="{FB242278-6BD7-4773-8C48-4879868FD7E2}"/>
              </a:ext>
            </a:extLst>
          </p:cNvPr>
          <p:cNvSpPr txBox="1"/>
          <p:nvPr/>
        </p:nvSpPr>
        <p:spPr bwMode="gray">
          <a:xfrm>
            <a:off x="10171113" y="4138613"/>
            <a:ext cx="1212850" cy="1793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000" dirty="0" err="1">
                <a:solidFill>
                  <a:sysClr val="windowText" lastClr="000000"/>
                </a:solidFill>
                <a:latin typeface="Verdana"/>
                <a:ea typeface="+mj-ea"/>
                <a:cs typeface="+mj-cs"/>
              </a:rPr>
              <a:t>Lentochka</a:t>
            </a:r>
            <a:endParaRPr kumimoji="0" lang="en-US" sz="100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Verdana"/>
              <a:ea typeface="+mj-ea"/>
              <a:cs typeface="+mj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0AD5B3E-A4A2-4F0E-A0EB-3411D6A74A18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2752725" y="6029325"/>
            <a:ext cx="160338" cy="120650"/>
          </a:xfrm>
          <a:prstGeom prst="rect">
            <a:avLst/>
          </a:prstGeom>
          <a:solidFill>
            <a:srgbClr val="364D6E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B361ED7A-BFF6-4F92-867D-6137DD22BDC7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7743825" y="6029325"/>
            <a:ext cx="160338" cy="120650"/>
          </a:xfrm>
          <a:prstGeom prst="rect">
            <a:avLst/>
          </a:prstGeom>
          <a:solidFill>
            <a:srgbClr val="9DB1C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ECFDDB20-FEE7-48AC-A7B8-DFB1D30ED4A3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6013450" y="6029325"/>
            <a:ext cx="160338" cy="120650"/>
          </a:xfrm>
          <a:prstGeom prst="rect">
            <a:avLst/>
          </a:prstGeom>
          <a:solidFill>
            <a:srgbClr val="6F8DB9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E7C33EA-C9A0-4D53-859F-B0F5F6FA9166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4198938" y="6029325"/>
            <a:ext cx="160338" cy="120650"/>
          </a:xfrm>
          <a:prstGeom prst="rect">
            <a:avLst/>
          </a:prstGeom>
          <a:solidFill>
            <a:srgbClr val="4C6C9C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715A68C-9908-46C0-BAFC-6B22F11CE1FA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8821738" y="6029325"/>
            <a:ext cx="160338" cy="120650"/>
          </a:xfrm>
          <a:prstGeom prst="rect">
            <a:avLst/>
          </a:prstGeom>
          <a:solidFill>
            <a:srgbClr val="C3CFE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20">
            <a:extLst>
              <a:ext uri="{FF2B5EF4-FFF2-40B4-BE49-F238E27FC236}">
                <a16:creationId xmlns:a16="http://schemas.microsoft.com/office/drawing/2014/main" id="{6051C640-6EAC-4B57-9841-A27FDE8E2D21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2963863" y="6026150"/>
            <a:ext cx="1133475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07E51093-943C-4A5C-AE4C-1368561B73AF}" type="datetime'''''Ca''nned ''vege''t''a''''b''''l''e''s'''' '''''''">
              <a:rPr lang="en-US" altLang="en-US" sz="900" smtClean="0">
                <a:ea typeface="+mn-ea"/>
              </a:rPr>
              <a:pPr/>
              <a:t>Canned vegetables </a:t>
            </a:fld>
            <a:endParaRPr lang="en-US" sz="900" dirty="0">
              <a:latin typeface="+mn-lt"/>
              <a:ea typeface="+mn-ea"/>
            </a:endParaRPr>
          </a:p>
        </p:txBody>
      </p:sp>
      <p:sp>
        <p:nvSpPr>
          <p:cNvPr id="43" name="Text Placeholder 20">
            <a:extLst>
              <a:ext uri="{FF2B5EF4-FFF2-40B4-BE49-F238E27FC236}">
                <a16:creationId xmlns:a16="http://schemas.microsoft.com/office/drawing/2014/main" id="{220ACA02-D767-4A68-BFAC-C7959D7ED40E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4410075" y="6026150"/>
            <a:ext cx="1501775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9EC2D8B2-CD4B-43B6-A848-071279DDFBC4}" type="datetime'C''a''n''ned fru''i''t''s'' ''an''''d ''''berr''''i''es '''">
              <a:rPr lang="en-US" altLang="en-US" sz="900" smtClean="0">
                <a:ea typeface="+mn-ea"/>
              </a:rPr>
              <a:pPr/>
              <a:t>Canned fruits and berries </a:t>
            </a:fld>
            <a:endParaRPr lang="en-US" sz="900" dirty="0">
              <a:latin typeface="+mn-lt"/>
              <a:ea typeface="+mn-ea"/>
            </a:endParaRPr>
          </a:p>
        </p:txBody>
      </p:sp>
      <p:sp>
        <p:nvSpPr>
          <p:cNvPr id="44" name="Text Placeholder 20">
            <a:extLst>
              <a:ext uri="{FF2B5EF4-FFF2-40B4-BE49-F238E27FC236}">
                <a16:creationId xmlns:a16="http://schemas.microsoft.com/office/drawing/2014/main" id="{3C0B1FB6-1433-4623-B08A-2D252A7E0EAF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7954963" y="6026150"/>
            <a:ext cx="765175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E2585287-94A4-4738-A84B-44CF8623139A}" type="datetime'''''C''''''''''a''''n''''''''''''ne''''d'' m''e''at'''''''">
              <a:rPr lang="en-US" altLang="en-US" sz="900" smtClean="0">
                <a:ea typeface="+mn-ea"/>
              </a:rPr>
              <a:pPr/>
              <a:t>Canned meat</a:t>
            </a:fld>
            <a:endParaRPr lang="en-US" sz="900" dirty="0">
              <a:latin typeface="+mn-lt"/>
              <a:ea typeface="+mn-ea"/>
            </a:endParaRPr>
          </a:p>
        </p:txBody>
      </p:sp>
      <p:sp>
        <p:nvSpPr>
          <p:cNvPr id="42" name="Text Placeholder 20">
            <a:extLst>
              <a:ext uri="{FF2B5EF4-FFF2-40B4-BE49-F238E27FC236}">
                <a16:creationId xmlns:a16="http://schemas.microsoft.com/office/drawing/2014/main" id="{14C5DCD6-A7EE-43B3-90F3-460FC64AC2B3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6224588" y="6026150"/>
            <a:ext cx="1417638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99316D9D-67B3-4E9F-B471-7C222C4BC0AD}" type="datetime'''''C''a''n''ne''''d fish'' ''an''d s''e''a''fo''''''o''''d'">
              <a:rPr lang="en-US" altLang="en-US" sz="900" smtClean="0">
                <a:ea typeface="+mn-ea"/>
              </a:rPr>
              <a:pPr/>
              <a:t>Canned fish and seafood</a:t>
            </a:fld>
            <a:endParaRPr lang="en-US" sz="900" dirty="0">
              <a:latin typeface="+mn-lt"/>
              <a:ea typeface="+mn-ea"/>
            </a:endParaRPr>
          </a:p>
        </p:txBody>
      </p:sp>
      <p:sp>
        <p:nvSpPr>
          <p:cNvPr id="45" name="Text Placeholder 20">
            <a:extLst>
              <a:ext uri="{FF2B5EF4-FFF2-40B4-BE49-F238E27FC236}">
                <a16:creationId xmlns:a16="http://schemas.microsoft.com/office/drawing/2014/main" id="{B65FB61A-B2D8-4C30-8CEA-9C53E6FB81B6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9032875" y="6026150"/>
            <a:ext cx="7620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x-none" sz="120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SzPct val="100000"/>
              <a:buNone/>
            </a:pPr>
            <a:fld id="{DEB0E121-356A-491D-BC41-5AF2F77DB7F8}" type="datetime'C''a''''''''nned'''' ''''''d''i''a''''''''''r''y'''''''''''">
              <a:rPr lang="en-US" altLang="en-US" sz="900" smtClean="0">
                <a:ea typeface="+mn-ea"/>
              </a:rPr>
              <a:pPr/>
              <a:t>Canned diary</a:t>
            </a:fld>
            <a:endParaRPr lang="en-US" sz="900" dirty="0">
              <a:latin typeface="+mn-lt"/>
              <a:ea typeface="+mn-ea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2743C619-9DE0-4379-AB20-51FA70BEB862}"/>
              </a:ext>
            </a:extLst>
          </p:cNvPr>
          <p:cNvSpPr txBox="1"/>
          <p:nvPr/>
        </p:nvSpPr>
        <p:spPr>
          <a:xfrm>
            <a:off x="3050450" y="1186843"/>
            <a:ext cx="6093822" cy="3120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sz="1100" b="1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rPr>
              <a:t>The number of SKUs presented in the Canned goods group</a:t>
            </a:r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j-cs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D616CC9E-914F-4D6B-8804-A819C9C5F5E7}"/>
              </a:ext>
            </a:extLst>
          </p:cNvPr>
          <p:cNvSpPr txBox="1"/>
          <p:nvPr/>
        </p:nvSpPr>
        <p:spPr>
          <a:xfrm>
            <a:off x="3049089" y="3749675"/>
            <a:ext cx="6093822" cy="3127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SKUs distribution by categories in the Canned goods group </a:t>
            </a:r>
            <a:r>
              <a:rPr lang="en-US" sz="1100" b="1" dirty="0">
                <a:solidFill>
                  <a:sysClr val="windowText" lastClr="000000"/>
                </a:solidFill>
                <a:latin typeface="Verdana"/>
                <a:ea typeface="+mj-ea"/>
                <a:cs typeface="+mj-cs"/>
              </a:rPr>
              <a:t>(in %)</a:t>
            </a:r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Verdana"/>
              <a:ea typeface="+mj-ea"/>
              <a:cs typeface="+mj-cs"/>
            </a:endParaRP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3811A5BA-F5C7-48EF-90ED-B2F8B9C967E3}"/>
              </a:ext>
            </a:extLst>
          </p:cNvPr>
          <p:cNvCxnSpPr>
            <a:cxnSpLocks/>
          </p:cNvCxnSpPr>
          <p:nvPr/>
        </p:nvCxnSpPr>
        <p:spPr>
          <a:xfrm>
            <a:off x="688185" y="1082000"/>
            <a:ext cx="1101613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id="{EDBF599A-839A-4EAF-A38E-D970EC2827BC}"/>
              </a:ext>
            </a:extLst>
          </p:cNvPr>
          <p:cNvSpPr txBox="1"/>
          <p:nvPr/>
        </p:nvSpPr>
        <p:spPr bwMode="gray">
          <a:xfrm>
            <a:off x="688184" y="1173628"/>
            <a:ext cx="11046616" cy="2255372"/>
          </a:xfrm>
          <a:prstGeom prst="rect">
            <a:avLst/>
          </a:prstGeom>
          <a:ln w="9525">
            <a:solidFill>
              <a:srgbClr val="797878"/>
            </a:solidFill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861B3E-37E7-4782-9B79-A48BFBD0AE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6D2641-81B4-4FA9-AABA-CD0BE301EB4F}" type="slidenum">
              <a:rPr lang="en-US" smtClean="0"/>
              <a:t>36</a:t>
            </a:fld>
            <a:endParaRPr lang="en-US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7479EDAA-08D4-4364-BBA5-9E78A4083129}"/>
              </a:ext>
            </a:extLst>
          </p:cNvPr>
          <p:cNvSpPr txBox="1"/>
          <p:nvPr/>
        </p:nvSpPr>
        <p:spPr bwMode="gray">
          <a:xfrm>
            <a:off x="688184" y="3606458"/>
            <a:ext cx="11046616" cy="2695040"/>
          </a:xfrm>
          <a:prstGeom prst="rect">
            <a:avLst/>
          </a:prstGeom>
          <a:ln w="9525">
            <a:solidFill>
              <a:srgbClr val="797878"/>
            </a:solidFill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329439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9FBDCD-8AFA-4187-9760-F291DAA622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9FBDCD-8AFA-4187-9760-F291DAA622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D8FAFC92-18B7-49DE-AAC3-D2B7F9C3702B}"/>
              </a:ext>
            </a:extLst>
          </p:cNvPr>
          <p:cNvSpPr txBox="1"/>
          <p:nvPr/>
        </p:nvSpPr>
        <p:spPr>
          <a:xfrm>
            <a:off x="688185" y="556502"/>
            <a:ext cx="7410786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ITC Avant Garde Pro Md" panose="020B0602020202020204" pitchFamily="34" charset="0"/>
              </a:rPr>
              <a:t>Results framework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1AA9B49-BA61-4EF2-9425-856B67E46035}"/>
              </a:ext>
            </a:extLst>
          </p:cNvPr>
          <p:cNvSpPr/>
          <p:nvPr/>
        </p:nvSpPr>
        <p:spPr>
          <a:xfrm>
            <a:off x="809896" y="1770017"/>
            <a:ext cx="10528663" cy="822960"/>
          </a:xfrm>
          <a:prstGeom prst="rect">
            <a:avLst/>
          </a:prstGeom>
          <a:solidFill>
            <a:srgbClr val="1B26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  <a:latin typeface="ITC Avant Garde Pro Md" panose="020B0602020202020204" pitchFamily="34" charset="0"/>
              </a:rPr>
              <a:t>Assortment improvement of Magnum retail chain </a:t>
            </a:r>
          </a:p>
          <a:p>
            <a:pPr algn="ctr"/>
            <a:r>
              <a:rPr lang="en-US" dirty="0">
                <a:solidFill>
                  <a:schemeClr val="bg1"/>
                </a:solidFill>
                <a:latin typeface="ITC Avant Garde Pro Md" panose="020B0602020202020204" pitchFamily="34" charset="0"/>
              </a:rPr>
              <a:t>through e-commerce channels: A Data Analytics approach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C3892E7-8492-4E13-A471-0922F3CFFB37}"/>
              </a:ext>
            </a:extLst>
          </p:cNvPr>
          <p:cNvSpPr/>
          <p:nvPr/>
        </p:nvSpPr>
        <p:spPr>
          <a:xfrm>
            <a:off x="809896" y="2808514"/>
            <a:ext cx="2037807" cy="2599509"/>
          </a:xfrm>
          <a:prstGeom prst="rect">
            <a:avLst/>
          </a:prstGeom>
          <a:noFill/>
          <a:ln>
            <a:solidFill>
              <a:srgbClr val="1B26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6F3619-DD23-4B32-A2D4-C574C792E430}"/>
              </a:ext>
            </a:extLst>
          </p:cNvPr>
          <p:cNvSpPr/>
          <p:nvPr/>
        </p:nvSpPr>
        <p:spPr>
          <a:xfrm>
            <a:off x="2926078" y="2808514"/>
            <a:ext cx="2037807" cy="2599509"/>
          </a:xfrm>
          <a:prstGeom prst="rect">
            <a:avLst/>
          </a:prstGeom>
          <a:noFill/>
          <a:ln>
            <a:solidFill>
              <a:srgbClr val="1B26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0F15420-6343-4089-BC3B-1965FFFEE3E9}"/>
              </a:ext>
            </a:extLst>
          </p:cNvPr>
          <p:cNvSpPr/>
          <p:nvPr/>
        </p:nvSpPr>
        <p:spPr>
          <a:xfrm>
            <a:off x="5050970" y="2808514"/>
            <a:ext cx="2037807" cy="2599509"/>
          </a:xfrm>
          <a:prstGeom prst="rect">
            <a:avLst/>
          </a:prstGeom>
          <a:solidFill>
            <a:srgbClr val="1B262A"/>
          </a:solidFill>
          <a:ln>
            <a:solidFill>
              <a:srgbClr val="1B26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558B1BE-30D9-4EBE-B82D-7E333A6202A8}"/>
              </a:ext>
            </a:extLst>
          </p:cNvPr>
          <p:cNvSpPr/>
          <p:nvPr/>
        </p:nvSpPr>
        <p:spPr>
          <a:xfrm>
            <a:off x="7188926" y="2808514"/>
            <a:ext cx="2037807" cy="2599509"/>
          </a:xfrm>
          <a:prstGeom prst="rect">
            <a:avLst/>
          </a:prstGeom>
          <a:noFill/>
          <a:ln>
            <a:solidFill>
              <a:srgbClr val="1B26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0772D22-7F36-412E-9CCC-5299D5D92B15}"/>
              </a:ext>
            </a:extLst>
          </p:cNvPr>
          <p:cNvSpPr/>
          <p:nvPr/>
        </p:nvSpPr>
        <p:spPr>
          <a:xfrm>
            <a:off x="9318171" y="2808514"/>
            <a:ext cx="2037807" cy="2599509"/>
          </a:xfrm>
          <a:prstGeom prst="rect">
            <a:avLst/>
          </a:prstGeom>
          <a:noFill/>
          <a:ln>
            <a:solidFill>
              <a:srgbClr val="1B26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1BB43B2-8756-4C3E-93B0-253FACE8C63F}"/>
              </a:ext>
            </a:extLst>
          </p:cNvPr>
          <p:cNvSpPr txBox="1"/>
          <p:nvPr/>
        </p:nvSpPr>
        <p:spPr>
          <a:xfrm>
            <a:off x="788122" y="3919931"/>
            <a:ext cx="20378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ITC Avant Garde Pro Bk" panose="020B0502020202020204" pitchFamily="34" charset="0"/>
              </a:rPr>
              <a:t>Offline vs. Onlin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7E841BD-27E2-4F23-AF4D-7B79FC0283FE}"/>
              </a:ext>
            </a:extLst>
          </p:cNvPr>
          <p:cNvSpPr txBox="1"/>
          <p:nvPr/>
        </p:nvSpPr>
        <p:spPr>
          <a:xfrm>
            <a:off x="2913014" y="3815879"/>
            <a:ext cx="20378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ITC Avant Garde Pro Bk" panose="020B0502020202020204" pitchFamily="34" charset="0"/>
              </a:rPr>
              <a:t>Competitor analysi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1D84FAA-E1C0-4F12-91F1-DFCDB184408B}"/>
              </a:ext>
            </a:extLst>
          </p:cNvPr>
          <p:cNvSpPr txBox="1"/>
          <p:nvPr/>
        </p:nvSpPr>
        <p:spPr>
          <a:xfrm>
            <a:off x="5107575" y="3796820"/>
            <a:ext cx="192459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ITC Avant Garde Pro Bk" panose="020B0502020202020204" pitchFamily="34" charset="0"/>
              </a:rPr>
              <a:t>Categorization and listin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38ED2F7-20DD-4016-996E-84C4D6B1970D}"/>
              </a:ext>
            </a:extLst>
          </p:cNvPr>
          <p:cNvSpPr txBox="1"/>
          <p:nvPr/>
        </p:nvSpPr>
        <p:spPr>
          <a:xfrm>
            <a:off x="7201990" y="3841993"/>
            <a:ext cx="20378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ITC Avant Garde Pro Bk" panose="020B0502020202020204" pitchFamily="34" charset="0"/>
              </a:rPr>
              <a:t>Mobile app ergonomic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F04B605-EB32-44D4-B833-99ECAA80A1E5}"/>
              </a:ext>
            </a:extLst>
          </p:cNvPr>
          <p:cNvSpPr txBox="1"/>
          <p:nvPr/>
        </p:nvSpPr>
        <p:spPr>
          <a:xfrm>
            <a:off x="9326882" y="3815874"/>
            <a:ext cx="20378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ITC Avant Garde Pro Bk" panose="020B0502020202020204" pitchFamily="34" charset="0"/>
              </a:rPr>
              <a:t>Interactive Dashboard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3C7766D-E193-4077-80FA-33056F2BB974}"/>
              </a:ext>
            </a:extLst>
          </p:cNvPr>
          <p:cNvCxnSpPr>
            <a:cxnSpLocks/>
          </p:cNvCxnSpPr>
          <p:nvPr/>
        </p:nvCxnSpPr>
        <p:spPr>
          <a:xfrm>
            <a:off x="688185" y="1082000"/>
            <a:ext cx="1101613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0FB8D5-8EDC-4118-BC4A-74497CB3E5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6D2641-81B4-4FA9-AABA-CD0BE301EB4F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647697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9FBDCD-8AFA-4187-9760-F291DAA622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9FBDCD-8AFA-4187-9760-F291DAA622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D8FAFC92-18B7-49DE-AAC3-D2B7F9C3702B}"/>
              </a:ext>
            </a:extLst>
          </p:cNvPr>
          <p:cNvSpPr txBox="1"/>
          <p:nvPr/>
        </p:nvSpPr>
        <p:spPr>
          <a:xfrm>
            <a:off x="688185" y="556502"/>
            <a:ext cx="7410786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ITC Avant Garde Pro Md" panose="020B0602020202020204" pitchFamily="34" charset="0"/>
              </a:rPr>
              <a:t>New categorization 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3C7766D-E193-4077-80FA-33056F2BB974}"/>
              </a:ext>
            </a:extLst>
          </p:cNvPr>
          <p:cNvCxnSpPr>
            <a:cxnSpLocks/>
          </p:cNvCxnSpPr>
          <p:nvPr/>
        </p:nvCxnSpPr>
        <p:spPr>
          <a:xfrm>
            <a:off x="688185" y="1082000"/>
            <a:ext cx="1101613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0FB8D5-8EDC-4118-BC4A-74497CB3E5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6D2641-81B4-4FA9-AABA-CD0BE301EB4F}" type="slidenum">
              <a:rPr lang="en-US" smtClean="0"/>
              <a:t>38</a:t>
            </a:fld>
            <a:endParaRPr lang="en-US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B735757E-512D-4AF2-BC5D-0928C0DA7FC0}"/>
              </a:ext>
            </a:extLst>
          </p:cNvPr>
          <p:cNvGrpSpPr/>
          <p:nvPr/>
        </p:nvGrpSpPr>
        <p:grpSpPr>
          <a:xfrm>
            <a:off x="688185" y="1640114"/>
            <a:ext cx="3287468" cy="4252685"/>
            <a:chOff x="688185" y="1640114"/>
            <a:chExt cx="3287468" cy="4252685"/>
          </a:xfrm>
        </p:grpSpPr>
        <p:sp>
          <p:nvSpPr>
            <p:cNvPr id="17" name="Прямоугольник 2">
              <a:extLst>
                <a:ext uri="{FF2B5EF4-FFF2-40B4-BE49-F238E27FC236}">
                  <a16:creationId xmlns:a16="http://schemas.microsoft.com/office/drawing/2014/main" id="{97EAFF1E-91B2-4B05-8749-2522E1A5D1B1}"/>
                </a:ext>
              </a:extLst>
            </p:cNvPr>
            <p:cNvSpPr/>
            <p:nvPr/>
          </p:nvSpPr>
          <p:spPr>
            <a:xfrm>
              <a:off x="688185" y="1640114"/>
              <a:ext cx="3287468" cy="4252685"/>
            </a:xfrm>
            <a:prstGeom prst="rect">
              <a:avLst/>
            </a:prstGeom>
            <a:noFill/>
            <a:ln>
              <a:solidFill>
                <a:srgbClr val="1B262A"/>
              </a:solidFill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BE224946-6B93-4A54-B5E3-AD6C77536F83}"/>
                </a:ext>
              </a:extLst>
            </p:cNvPr>
            <p:cNvSpPr txBox="1"/>
            <p:nvPr/>
          </p:nvSpPr>
          <p:spPr>
            <a:xfrm>
              <a:off x="688185" y="4174423"/>
              <a:ext cx="328746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latin typeface="ITC Avant Garde Pro Bk" panose="020B0502020202020204" pitchFamily="34" charset="0"/>
                </a:rPr>
                <a:t>Proper naming</a:t>
              </a:r>
            </a:p>
          </p:txBody>
        </p:sp>
        <p:pic>
          <p:nvPicPr>
            <p:cNvPr id="27" name="Graphic 26">
              <a:extLst>
                <a:ext uri="{FF2B5EF4-FFF2-40B4-BE49-F238E27FC236}">
                  <a16:creationId xmlns:a16="http://schemas.microsoft.com/office/drawing/2014/main" id="{6290F279-EA0F-4F55-88B1-6BF93436B2A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756838" y="2278838"/>
              <a:ext cx="1150162" cy="1150162"/>
            </a:xfrm>
            <a:prstGeom prst="rect">
              <a:avLst/>
            </a:prstGeom>
          </p:spPr>
        </p:pic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54393F65-3F2D-4247-BA74-619C8B7C2388}"/>
              </a:ext>
            </a:extLst>
          </p:cNvPr>
          <p:cNvGrpSpPr/>
          <p:nvPr/>
        </p:nvGrpSpPr>
        <p:grpSpPr>
          <a:xfrm>
            <a:off x="4380232" y="1640114"/>
            <a:ext cx="3452025" cy="4252685"/>
            <a:chOff x="4380232" y="1640114"/>
            <a:chExt cx="3452025" cy="4252685"/>
          </a:xfrm>
        </p:grpSpPr>
        <p:sp>
          <p:nvSpPr>
            <p:cNvPr id="18" name="Прямоугольник 3">
              <a:extLst>
                <a:ext uri="{FF2B5EF4-FFF2-40B4-BE49-F238E27FC236}">
                  <a16:creationId xmlns:a16="http://schemas.microsoft.com/office/drawing/2014/main" id="{015223FE-C0B5-4683-8895-ED75F2B97507}"/>
                </a:ext>
              </a:extLst>
            </p:cNvPr>
            <p:cNvSpPr/>
            <p:nvPr/>
          </p:nvSpPr>
          <p:spPr>
            <a:xfrm>
              <a:off x="4380232" y="1640114"/>
              <a:ext cx="3452025" cy="4252685"/>
            </a:xfrm>
            <a:prstGeom prst="rect">
              <a:avLst/>
            </a:prstGeom>
            <a:noFill/>
            <a:ln>
              <a:solidFill>
                <a:srgbClr val="1B262A"/>
              </a:solidFill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4BE13126-D666-4CA5-8D44-7B82BC1D8F51}"/>
                </a:ext>
              </a:extLst>
            </p:cNvPr>
            <p:cNvSpPr txBox="1"/>
            <p:nvPr/>
          </p:nvSpPr>
          <p:spPr>
            <a:xfrm>
              <a:off x="4393577" y="4035923"/>
              <a:ext cx="3438679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latin typeface="ITC Avant Garde Pro Bk" panose="020B0502020202020204" pitchFamily="34" charset="0"/>
                </a:rPr>
                <a:t>Restructuring groups and categories</a:t>
              </a:r>
              <a:endParaRPr lang="ru-RU" dirty="0"/>
            </a:p>
          </p:txBody>
        </p:sp>
        <p:pic>
          <p:nvPicPr>
            <p:cNvPr id="29" name="Graphic 28">
              <a:extLst>
                <a:ext uri="{FF2B5EF4-FFF2-40B4-BE49-F238E27FC236}">
                  <a16:creationId xmlns:a16="http://schemas.microsoft.com/office/drawing/2014/main" id="{7743EF37-5289-4FDD-978F-663EE6D066E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558167" y="2212692"/>
              <a:ext cx="1276170" cy="1276170"/>
            </a:xfrm>
            <a:prstGeom prst="rect">
              <a:avLst/>
            </a:prstGeom>
          </p:spPr>
        </p:pic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CAD82FD5-2298-4EE8-9710-562E72775DC1}"/>
              </a:ext>
            </a:extLst>
          </p:cNvPr>
          <p:cNvGrpSpPr/>
          <p:nvPr/>
        </p:nvGrpSpPr>
        <p:grpSpPr>
          <a:xfrm>
            <a:off x="8236835" y="1640114"/>
            <a:ext cx="3452026" cy="4252685"/>
            <a:chOff x="8236835" y="1640114"/>
            <a:chExt cx="3452026" cy="4252685"/>
          </a:xfrm>
        </p:grpSpPr>
        <p:sp>
          <p:nvSpPr>
            <p:cNvPr id="19" name="Прямоугольник 4">
              <a:extLst>
                <a:ext uri="{FF2B5EF4-FFF2-40B4-BE49-F238E27FC236}">
                  <a16:creationId xmlns:a16="http://schemas.microsoft.com/office/drawing/2014/main" id="{BE3A4DC3-5240-49B5-84F3-9EA1D51C078D}"/>
                </a:ext>
              </a:extLst>
            </p:cNvPr>
            <p:cNvSpPr/>
            <p:nvPr/>
          </p:nvSpPr>
          <p:spPr>
            <a:xfrm>
              <a:off x="8236836" y="1640114"/>
              <a:ext cx="3452025" cy="4252685"/>
            </a:xfrm>
            <a:prstGeom prst="rect">
              <a:avLst/>
            </a:prstGeom>
            <a:noFill/>
            <a:ln>
              <a:solidFill>
                <a:srgbClr val="1B262A"/>
              </a:solidFill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315F042F-B067-46FE-AC23-2C8812FDEED5}"/>
                </a:ext>
              </a:extLst>
            </p:cNvPr>
            <p:cNvSpPr txBox="1"/>
            <p:nvPr/>
          </p:nvSpPr>
          <p:spPr>
            <a:xfrm>
              <a:off x="8236835" y="4035923"/>
              <a:ext cx="3438679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latin typeface="ITC Avant Garde Pro Bk" panose="020B0502020202020204" pitchFamily="34" charset="0"/>
                </a:rPr>
                <a:t>Removing groups and categories</a:t>
              </a:r>
              <a:endParaRPr lang="ru-RU" dirty="0"/>
            </a:p>
          </p:txBody>
        </p:sp>
        <p:pic>
          <p:nvPicPr>
            <p:cNvPr id="31" name="Graphic 30">
              <a:extLst>
                <a:ext uri="{FF2B5EF4-FFF2-40B4-BE49-F238E27FC236}">
                  <a16:creationId xmlns:a16="http://schemas.microsoft.com/office/drawing/2014/main" id="{D9ECEB6A-5B18-414A-B2DC-8B16D9AD1D4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9344115" y="2212692"/>
              <a:ext cx="1276169" cy="127616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211115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4FE31BF-6D92-4A2B-8496-759C3601BF9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75104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4B5935A-45B8-4ED1-953C-4530D87D37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6D2641-81B4-4FA9-AABA-CD0BE301EB4F}" type="slidenum">
              <a:rPr lang="en-US" smtClean="0"/>
              <a:t>39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93DBE02-9687-4881-8D79-CED55C514194}"/>
              </a:ext>
            </a:extLst>
          </p:cNvPr>
          <p:cNvSpPr txBox="1"/>
          <p:nvPr/>
        </p:nvSpPr>
        <p:spPr>
          <a:xfrm>
            <a:off x="688185" y="556502"/>
            <a:ext cx="7410786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ITC Avant Garde Pro Md" panose="020B0602020202020204" pitchFamily="34" charset="0"/>
              </a:rPr>
              <a:t>New categorization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B2D44D2-1F91-4301-A675-9C22128C55CA}"/>
              </a:ext>
            </a:extLst>
          </p:cNvPr>
          <p:cNvCxnSpPr>
            <a:cxnSpLocks/>
          </p:cNvCxnSpPr>
          <p:nvPr/>
        </p:nvCxnSpPr>
        <p:spPr>
          <a:xfrm>
            <a:off x="688185" y="1082000"/>
            <a:ext cx="1101613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Diagram, schematic&#10;&#10;Description automatically generated">
            <a:extLst>
              <a:ext uri="{FF2B5EF4-FFF2-40B4-BE49-F238E27FC236}">
                <a16:creationId xmlns:a16="http://schemas.microsoft.com/office/drawing/2014/main" id="{E1FE4E5C-08E5-4FDB-95F2-F34648F6690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605" y="1332426"/>
            <a:ext cx="11266789" cy="4842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40063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8188AD-9094-4C66-BE47-9C889B1594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8188AD-9094-4C66-BE47-9C889B1594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66584611-B9BD-493F-90BA-81739C2DC2FB}"/>
              </a:ext>
            </a:extLst>
          </p:cNvPr>
          <p:cNvSpPr/>
          <p:nvPr/>
        </p:nvSpPr>
        <p:spPr>
          <a:xfrm>
            <a:off x="10485296" y="0"/>
            <a:ext cx="1706704" cy="6858000"/>
          </a:xfrm>
          <a:prstGeom prst="rect">
            <a:avLst/>
          </a:prstGeom>
          <a:solidFill>
            <a:srgbClr val="1B26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885B069-12B1-4D5E-A241-F108F36069DA}"/>
              </a:ext>
            </a:extLst>
          </p:cNvPr>
          <p:cNvSpPr txBox="1"/>
          <p:nvPr/>
        </p:nvSpPr>
        <p:spPr>
          <a:xfrm>
            <a:off x="601013" y="5176290"/>
            <a:ext cx="4724277" cy="10156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6000" dirty="0">
                <a:solidFill>
                  <a:srgbClr val="1B262A"/>
                </a:solidFill>
                <a:latin typeface="ITC Avant Garde Pro Md" panose="020B0602020202020204" pitchFamily="34" charset="0"/>
              </a:rPr>
              <a:t>Introducti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4B60A28-A434-42BB-A331-28E026EE266B}"/>
              </a:ext>
            </a:extLst>
          </p:cNvPr>
          <p:cNvSpPr txBox="1"/>
          <p:nvPr/>
        </p:nvSpPr>
        <p:spPr>
          <a:xfrm>
            <a:off x="461549" y="2870199"/>
            <a:ext cx="1759131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0" dirty="0">
                <a:solidFill>
                  <a:srgbClr val="1B262A"/>
                </a:solidFill>
                <a:latin typeface="Bahnschrift SemiLight Condensed" panose="020B0502040204020203" pitchFamily="34" charset="0"/>
              </a:rPr>
              <a:t>01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ECA8FAC-48D8-429E-8F45-083CE78396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6D2641-81B4-4FA9-AABA-CD0BE301EB4F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962912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4FE31BF-6D92-4A2B-8496-759C3601BF9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4FE31BF-6D92-4A2B-8496-759C3601BF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4B5935A-45B8-4ED1-953C-4530D87D37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42424"/>
            <a:ext cx="2743200" cy="379052"/>
          </a:xfrm>
        </p:spPr>
        <p:txBody>
          <a:bodyPr/>
          <a:lstStyle/>
          <a:p>
            <a:fld id="{F96D2641-81B4-4FA9-AABA-CD0BE301EB4F}" type="slidenum">
              <a:rPr lang="en-US" smtClean="0"/>
              <a:t>40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93DBE02-9687-4881-8D79-CED55C514194}"/>
              </a:ext>
            </a:extLst>
          </p:cNvPr>
          <p:cNvSpPr txBox="1"/>
          <p:nvPr/>
        </p:nvSpPr>
        <p:spPr>
          <a:xfrm>
            <a:off x="688185" y="556502"/>
            <a:ext cx="7410786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ITC Avant Garde Pro Md" panose="020B0602020202020204" pitchFamily="34" charset="0"/>
              </a:rPr>
              <a:t>New listing algorithm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B2D44D2-1F91-4301-A675-9C22128C55CA}"/>
              </a:ext>
            </a:extLst>
          </p:cNvPr>
          <p:cNvCxnSpPr>
            <a:cxnSpLocks/>
          </p:cNvCxnSpPr>
          <p:nvPr/>
        </p:nvCxnSpPr>
        <p:spPr>
          <a:xfrm>
            <a:off x="688185" y="1082000"/>
            <a:ext cx="1101613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56AF95DC-0563-4353-A361-DA0F3E40D920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61026"/>
          <a:stretch/>
        </p:blipFill>
        <p:spPr>
          <a:xfrm>
            <a:off x="688185" y="1295032"/>
            <a:ext cx="4300674" cy="523691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C89BA83-EFD0-4447-BFDE-4FA5234A0F5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9036" r="53652"/>
          <a:stretch/>
        </p:blipFill>
        <p:spPr>
          <a:xfrm>
            <a:off x="4988859" y="1295032"/>
            <a:ext cx="806824" cy="523691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49E2F22-5100-46D3-A652-B9171CD1ACF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46446" r="44414"/>
          <a:stretch/>
        </p:blipFill>
        <p:spPr>
          <a:xfrm>
            <a:off x="5795683" y="1295032"/>
            <a:ext cx="1008529" cy="523691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42246B6-CFD9-42EB-ADEB-77C42F84B67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62434" r="29366"/>
          <a:stretch/>
        </p:blipFill>
        <p:spPr>
          <a:xfrm>
            <a:off x="7499619" y="1295032"/>
            <a:ext cx="904794" cy="523691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81692EE-BA2C-4C52-95B4-73A25CF0F95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55987" r="37712"/>
          <a:stretch/>
        </p:blipFill>
        <p:spPr>
          <a:xfrm>
            <a:off x="6804212" y="1295032"/>
            <a:ext cx="695406" cy="523691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B9A39F6-F1F1-460C-8BAF-A94D18621B79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70550" r="22382"/>
          <a:stretch/>
        </p:blipFill>
        <p:spPr>
          <a:xfrm>
            <a:off x="8404413" y="1295032"/>
            <a:ext cx="779928" cy="523691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0CB0BD8-F422-41ED-AF1B-7BEDF0D02709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77801" r="14461"/>
          <a:stretch/>
        </p:blipFill>
        <p:spPr>
          <a:xfrm>
            <a:off x="9184341" y="1295032"/>
            <a:ext cx="853888" cy="5236918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53E630D-7553-4CD1-A902-2A81EFA6551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85935" r="6382"/>
          <a:stretch/>
        </p:blipFill>
        <p:spPr>
          <a:xfrm>
            <a:off x="10028704" y="1295032"/>
            <a:ext cx="847726" cy="5236918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49779C4A-4AEB-4B99-818D-8941EA97F72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93409"/>
          <a:stretch/>
        </p:blipFill>
        <p:spPr>
          <a:xfrm>
            <a:off x="10876430" y="1295032"/>
            <a:ext cx="727261" cy="5236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3094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9FBDCD-8AFA-4187-9760-F291DAA622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9FBDCD-8AFA-4187-9760-F291DAA622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D8FAFC92-18B7-49DE-AAC3-D2B7F9C3702B}"/>
              </a:ext>
            </a:extLst>
          </p:cNvPr>
          <p:cNvSpPr txBox="1"/>
          <p:nvPr/>
        </p:nvSpPr>
        <p:spPr>
          <a:xfrm>
            <a:off x="688185" y="556502"/>
            <a:ext cx="7410786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ITC Avant Garde Pro Md" panose="020B0602020202020204" pitchFamily="34" charset="0"/>
              </a:rPr>
              <a:t>Results framework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1AA9B49-BA61-4EF2-9425-856B67E46035}"/>
              </a:ext>
            </a:extLst>
          </p:cNvPr>
          <p:cNvSpPr/>
          <p:nvPr/>
        </p:nvSpPr>
        <p:spPr>
          <a:xfrm>
            <a:off x="809896" y="1770017"/>
            <a:ext cx="10528663" cy="822960"/>
          </a:xfrm>
          <a:prstGeom prst="rect">
            <a:avLst/>
          </a:prstGeom>
          <a:solidFill>
            <a:srgbClr val="1B26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  <a:latin typeface="ITC Avant Garde Pro Md" panose="020B0602020202020204" pitchFamily="34" charset="0"/>
              </a:rPr>
              <a:t>Assortment improvement of Magnum retail chain </a:t>
            </a:r>
          </a:p>
          <a:p>
            <a:pPr algn="ctr"/>
            <a:r>
              <a:rPr lang="en-US" dirty="0">
                <a:solidFill>
                  <a:schemeClr val="bg1"/>
                </a:solidFill>
                <a:latin typeface="ITC Avant Garde Pro Md" panose="020B0602020202020204" pitchFamily="34" charset="0"/>
              </a:rPr>
              <a:t>through e-commerce channels: A Data Analytics approach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C3892E7-8492-4E13-A471-0922F3CFFB37}"/>
              </a:ext>
            </a:extLst>
          </p:cNvPr>
          <p:cNvSpPr/>
          <p:nvPr/>
        </p:nvSpPr>
        <p:spPr>
          <a:xfrm>
            <a:off x="809896" y="2808514"/>
            <a:ext cx="2037807" cy="2599509"/>
          </a:xfrm>
          <a:prstGeom prst="rect">
            <a:avLst/>
          </a:prstGeom>
          <a:noFill/>
          <a:ln>
            <a:solidFill>
              <a:srgbClr val="1B26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6F3619-DD23-4B32-A2D4-C574C792E430}"/>
              </a:ext>
            </a:extLst>
          </p:cNvPr>
          <p:cNvSpPr/>
          <p:nvPr/>
        </p:nvSpPr>
        <p:spPr>
          <a:xfrm>
            <a:off x="2926078" y="2808514"/>
            <a:ext cx="2037807" cy="2599509"/>
          </a:xfrm>
          <a:prstGeom prst="rect">
            <a:avLst/>
          </a:prstGeom>
          <a:noFill/>
          <a:ln>
            <a:solidFill>
              <a:srgbClr val="1B26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0F15420-6343-4089-BC3B-1965FFFEE3E9}"/>
              </a:ext>
            </a:extLst>
          </p:cNvPr>
          <p:cNvSpPr/>
          <p:nvPr/>
        </p:nvSpPr>
        <p:spPr>
          <a:xfrm>
            <a:off x="5050970" y="2808514"/>
            <a:ext cx="2037807" cy="2599509"/>
          </a:xfrm>
          <a:prstGeom prst="rect">
            <a:avLst/>
          </a:prstGeom>
          <a:noFill/>
          <a:ln>
            <a:solidFill>
              <a:srgbClr val="1B26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558B1BE-30D9-4EBE-B82D-7E333A6202A8}"/>
              </a:ext>
            </a:extLst>
          </p:cNvPr>
          <p:cNvSpPr/>
          <p:nvPr/>
        </p:nvSpPr>
        <p:spPr>
          <a:xfrm>
            <a:off x="7188926" y="2808514"/>
            <a:ext cx="2037807" cy="2599509"/>
          </a:xfrm>
          <a:prstGeom prst="rect">
            <a:avLst/>
          </a:prstGeom>
          <a:solidFill>
            <a:srgbClr val="1B262A"/>
          </a:solidFill>
          <a:ln>
            <a:solidFill>
              <a:srgbClr val="1B26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0772D22-7F36-412E-9CCC-5299D5D92B15}"/>
              </a:ext>
            </a:extLst>
          </p:cNvPr>
          <p:cNvSpPr/>
          <p:nvPr/>
        </p:nvSpPr>
        <p:spPr>
          <a:xfrm>
            <a:off x="9318171" y="2808514"/>
            <a:ext cx="2037807" cy="2599509"/>
          </a:xfrm>
          <a:prstGeom prst="rect">
            <a:avLst/>
          </a:prstGeom>
          <a:noFill/>
          <a:ln>
            <a:solidFill>
              <a:srgbClr val="1B26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1BB43B2-8756-4C3E-93B0-253FACE8C63F}"/>
              </a:ext>
            </a:extLst>
          </p:cNvPr>
          <p:cNvSpPr txBox="1"/>
          <p:nvPr/>
        </p:nvSpPr>
        <p:spPr>
          <a:xfrm>
            <a:off x="788122" y="3919931"/>
            <a:ext cx="20378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ITC Avant Garde Pro Bk" panose="020B0502020202020204" pitchFamily="34" charset="0"/>
              </a:rPr>
              <a:t>Offline vs. Onlin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7E841BD-27E2-4F23-AF4D-7B79FC0283FE}"/>
              </a:ext>
            </a:extLst>
          </p:cNvPr>
          <p:cNvSpPr txBox="1"/>
          <p:nvPr/>
        </p:nvSpPr>
        <p:spPr>
          <a:xfrm>
            <a:off x="2913014" y="3815879"/>
            <a:ext cx="20378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ITC Avant Garde Pro Bk" panose="020B0502020202020204" pitchFamily="34" charset="0"/>
              </a:rPr>
              <a:t>Competitor analysi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1D84FAA-E1C0-4F12-91F1-DFCDB184408B}"/>
              </a:ext>
            </a:extLst>
          </p:cNvPr>
          <p:cNvSpPr txBox="1"/>
          <p:nvPr/>
        </p:nvSpPr>
        <p:spPr>
          <a:xfrm>
            <a:off x="5107575" y="3796820"/>
            <a:ext cx="192459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ITC Avant Garde Pro Bk" panose="020B0502020202020204" pitchFamily="34" charset="0"/>
              </a:rPr>
              <a:t>Categorization and listin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38ED2F7-20DD-4016-996E-84C4D6B1970D}"/>
              </a:ext>
            </a:extLst>
          </p:cNvPr>
          <p:cNvSpPr txBox="1"/>
          <p:nvPr/>
        </p:nvSpPr>
        <p:spPr>
          <a:xfrm>
            <a:off x="7201990" y="3841993"/>
            <a:ext cx="20378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ITC Avant Garde Pro Bk" panose="020B0502020202020204" pitchFamily="34" charset="0"/>
              </a:rPr>
              <a:t>Mobile app ergonomic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F04B605-EB32-44D4-B833-99ECAA80A1E5}"/>
              </a:ext>
            </a:extLst>
          </p:cNvPr>
          <p:cNvSpPr txBox="1"/>
          <p:nvPr/>
        </p:nvSpPr>
        <p:spPr>
          <a:xfrm>
            <a:off x="9326882" y="3815874"/>
            <a:ext cx="20378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ITC Avant Garde Pro Bk" panose="020B0502020202020204" pitchFamily="34" charset="0"/>
              </a:rPr>
              <a:t>Interactive Dashboard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3C7766D-E193-4077-80FA-33056F2BB974}"/>
              </a:ext>
            </a:extLst>
          </p:cNvPr>
          <p:cNvCxnSpPr>
            <a:cxnSpLocks/>
          </p:cNvCxnSpPr>
          <p:nvPr/>
        </p:nvCxnSpPr>
        <p:spPr>
          <a:xfrm>
            <a:off x="688185" y="1082000"/>
            <a:ext cx="1101613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0FB8D5-8EDC-4118-BC4A-74497CB3E5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6D2641-81B4-4FA9-AABA-CD0BE301EB4F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740149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4FE31BF-6D92-4A2B-8496-759C3601BF9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4FE31BF-6D92-4A2B-8496-759C3601BF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4B5935A-45B8-4ED1-953C-4530D87D37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6D2641-81B4-4FA9-AABA-CD0BE301EB4F}" type="slidenum">
              <a:rPr lang="en-US" smtClean="0"/>
              <a:t>42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93DBE02-9687-4881-8D79-CED55C514194}"/>
              </a:ext>
            </a:extLst>
          </p:cNvPr>
          <p:cNvSpPr txBox="1"/>
          <p:nvPr/>
        </p:nvSpPr>
        <p:spPr>
          <a:xfrm>
            <a:off x="688185" y="556502"/>
            <a:ext cx="7410786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ITC Avant Garde Pro Md" panose="020B0602020202020204" pitchFamily="34" charset="0"/>
              </a:rPr>
              <a:t>Mobile app ergonomics survey structur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B2D44D2-1F91-4301-A675-9C22128C55CA}"/>
              </a:ext>
            </a:extLst>
          </p:cNvPr>
          <p:cNvCxnSpPr>
            <a:cxnSpLocks/>
          </p:cNvCxnSpPr>
          <p:nvPr/>
        </p:nvCxnSpPr>
        <p:spPr>
          <a:xfrm>
            <a:off x="688185" y="1082000"/>
            <a:ext cx="1101613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BD1B6395-258F-4842-B3B3-422E23DC51F0}"/>
              </a:ext>
            </a:extLst>
          </p:cNvPr>
          <p:cNvSpPr/>
          <p:nvPr/>
        </p:nvSpPr>
        <p:spPr>
          <a:xfrm>
            <a:off x="688187" y="3215686"/>
            <a:ext cx="2459965" cy="878784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rgbClr val="1B26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1B262A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AEDEDC9-CF42-4D7E-9630-AD53F082E8D7}"/>
              </a:ext>
            </a:extLst>
          </p:cNvPr>
          <p:cNvSpPr/>
          <p:nvPr/>
        </p:nvSpPr>
        <p:spPr>
          <a:xfrm>
            <a:off x="3570720" y="3215686"/>
            <a:ext cx="2459965" cy="878784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rgbClr val="1B26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1B262A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FF4E2FE-E3A5-4988-A5B2-253CD7B19883}"/>
              </a:ext>
            </a:extLst>
          </p:cNvPr>
          <p:cNvSpPr/>
          <p:nvPr/>
        </p:nvSpPr>
        <p:spPr>
          <a:xfrm>
            <a:off x="6435846" y="3215686"/>
            <a:ext cx="2459965" cy="878784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rgbClr val="1B26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1B262A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9001383-C91E-4FA0-8A42-038E499B416E}"/>
              </a:ext>
            </a:extLst>
          </p:cNvPr>
          <p:cNvSpPr/>
          <p:nvPr/>
        </p:nvSpPr>
        <p:spPr>
          <a:xfrm>
            <a:off x="9244361" y="3215686"/>
            <a:ext cx="2459965" cy="878784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rgbClr val="1B26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1B262A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AB94F79-B2C0-49DB-ACEA-B70CA0E06D67}"/>
              </a:ext>
            </a:extLst>
          </p:cNvPr>
          <p:cNvSpPr txBox="1"/>
          <p:nvPr/>
        </p:nvSpPr>
        <p:spPr>
          <a:xfrm>
            <a:off x="688184" y="3485801"/>
            <a:ext cx="24599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ITC Avant Garde Pro Md" panose="020B0602020202020204" pitchFamily="34" charset="0"/>
              </a:rPr>
              <a:t>Functionalit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BF6D2C7-5ED8-4217-8E4F-3B650CFDEC28}"/>
              </a:ext>
            </a:extLst>
          </p:cNvPr>
          <p:cNvSpPr txBox="1"/>
          <p:nvPr/>
        </p:nvSpPr>
        <p:spPr>
          <a:xfrm>
            <a:off x="3570718" y="3485801"/>
            <a:ext cx="24599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ITC Avant Garde Pro Md" panose="020B0602020202020204" pitchFamily="34" charset="0"/>
              </a:rPr>
              <a:t>Aesthetic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97C8AE9-E974-422E-BA1D-0C89A8A34E7E}"/>
              </a:ext>
            </a:extLst>
          </p:cNvPr>
          <p:cNvSpPr txBox="1"/>
          <p:nvPr/>
        </p:nvSpPr>
        <p:spPr>
          <a:xfrm>
            <a:off x="9244355" y="3485801"/>
            <a:ext cx="24599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ITC Avant Garde Pro Md" panose="020B0602020202020204" pitchFamily="34" charset="0"/>
              </a:rPr>
              <a:t>Subjective quality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E51DE34-3FED-4BF5-A5A9-9E729E43625F}"/>
              </a:ext>
            </a:extLst>
          </p:cNvPr>
          <p:cNvSpPr txBox="1"/>
          <p:nvPr/>
        </p:nvSpPr>
        <p:spPr>
          <a:xfrm>
            <a:off x="6435843" y="3485801"/>
            <a:ext cx="24599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ITC Avant Garde Pro Md" panose="020B0602020202020204" pitchFamily="34" charset="0"/>
              </a:rPr>
              <a:t>Information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026F7AF-B397-438F-A05C-ACC7D5455149}"/>
              </a:ext>
            </a:extLst>
          </p:cNvPr>
          <p:cNvSpPr/>
          <p:nvPr/>
        </p:nvSpPr>
        <p:spPr>
          <a:xfrm>
            <a:off x="688185" y="4356499"/>
            <a:ext cx="2459965" cy="1666017"/>
          </a:xfrm>
          <a:prstGeom prst="rect">
            <a:avLst/>
          </a:prstGeom>
          <a:noFill/>
          <a:ln>
            <a:solidFill>
              <a:srgbClr val="1B26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7979790-EFEA-40E7-B80D-CA847F15ABAB}"/>
              </a:ext>
            </a:extLst>
          </p:cNvPr>
          <p:cNvSpPr/>
          <p:nvPr/>
        </p:nvSpPr>
        <p:spPr>
          <a:xfrm>
            <a:off x="3570718" y="4356499"/>
            <a:ext cx="2459965" cy="1666017"/>
          </a:xfrm>
          <a:prstGeom prst="rect">
            <a:avLst/>
          </a:prstGeom>
          <a:noFill/>
          <a:ln>
            <a:solidFill>
              <a:srgbClr val="1B26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86D5E72-A73B-4EE7-A49B-60754C9AAF44}"/>
              </a:ext>
            </a:extLst>
          </p:cNvPr>
          <p:cNvSpPr/>
          <p:nvPr/>
        </p:nvSpPr>
        <p:spPr>
          <a:xfrm>
            <a:off x="6435842" y="4356499"/>
            <a:ext cx="2459965" cy="1666014"/>
          </a:xfrm>
          <a:prstGeom prst="rect">
            <a:avLst/>
          </a:prstGeom>
          <a:noFill/>
          <a:ln>
            <a:solidFill>
              <a:srgbClr val="1B26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7FEBF5B-7B45-41D9-B715-382289BB0209}"/>
              </a:ext>
            </a:extLst>
          </p:cNvPr>
          <p:cNvSpPr/>
          <p:nvPr/>
        </p:nvSpPr>
        <p:spPr>
          <a:xfrm>
            <a:off x="9244355" y="4356499"/>
            <a:ext cx="2459965" cy="1666014"/>
          </a:xfrm>
          <a:prstGeom prst="rect">
            <a:avLst/>
          </a:prstGeom>
          <a:noFill/>
          <a:ln>
            <a:solidFill>
              <a:srgbClr val="1B26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79B780E-1B36-4E1B-9B0D-9FE60A641003}"/>
              </a:ext>
            </a:extLst>
          </p:cNvPr>
          <p:cNvSpPr txBox="1"/>
          <p:nvPr/>
        </p:nvSpPr>
        <p:spPr>
          <a:xfrm>
            <a:off x="949459" y="4629134"/>
            <a:ext cx="1937413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latin typeface="ITC Avant Garde Pro Bk" panose="020B0502020202020204" pitchFamily="34" charset="0"/>
              </a:rPr>
              <a:t>Performance</a:t>
            </a:r>
            <a:endParaRPr lang="ru-RU" sz="1400" dirty="0">
              <a:latin typeface="ITC Avant Garde Pro Bk" panose="020B0502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 dirty="0">
              <a:latin typeface="ITC Avant Garde Pro Bk" panose="020B0502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latin typeface="ITC Avant Garde Pro Bk" panose="020B0502020202020204" pitchFamily="34" charset="0"/>
              </a:rPr>
              <a:t>Navigation</a:t>
            </a:r>
            <a:endParaRPr lang="ru-RU" sz="1400" dirty="0">
              <a:latin typeface="ITC Avant Garde Pro Bk" panose="020B0502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 dirty="0">
              <a:latin typeface="ITC Avant Garde Pro Bk" panose="020B0502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latin typeface="ITC Avant Garde Pro Bk" panose="020B0502020202020204" pitchFamily="34" charset="0"/>
              </a:rPr>
              <a:t>Gestural design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10E3DCE-B554-404B-80A0-2B72E558548F}"/>
              </a:ext>
            </a:extLst>
          </p:cNvPr>
          <p:cNvSpPr txBox="1"/>
          <p:nvPr/>
        </p:nvSpPr>
        <p:spPr>
          <a:xfrm>
            <a:off x="3867457" y="4621210"/>
            <a:ext cx="186648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latin typeface="ITC Avant Garde Pro Bk" panose="020B0502020202020204" pitchFamily="34" charset="0"/>
              </a:rPr>
              <a:t>Graphics</a:t>
            </a:r>
            <a:endParaRPr lang="ru-RU" sz="1400" dirty="0">
              <a:latin typeface="ITC Avant Garde Pro Bk" panose="020B0502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 dirty="0">
              <a:latin typeface="ITC Avant Garde Pro Bk" panose="020B0502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latin typeface="ITC Avant Garde Pro Bk" panose="020B0502020202020204" pitchFamily="34" charset="0"/>
              </a:rPr>
              <a:t>Layout</a:t>
            </a:r>
            <a:endParaRPr lang="ru-RU" sz="1400" dirty="0">
              <a:latin typeface="ITC Avant Garde Pro Bk" panose="020B0502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 dirty="0">
              <a:latin typeface="ITC Avant Garde Pro Bk" panose="020B0502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latin typeface="ITC Avant Garde Pro Bk" panose="020B0502020202020204" pitchFamily="34" charset="0"/>
              </a:rPr>
              <a:t>Visual appeal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A3E3C0A-803D-49A9-A240-9755A44150C1}"/>
              </a:ext>
            </a:extLst>
          </p:cNvPr>
          <p:cNvSpPr txBox="1"/>
          <p:nvPr/>
        </p:nvSpPr>
        <p:spPr>
          <a:xfrm>
            <a:off x="6798128" y="4629134"/>
            <a:ext cx="1896291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latin typeface="ITC Avant Garde Pro Bk" panose="020B0502020202020204" pitchFamily="34" charset="0"/>
              </a:rPr>
              <a:t>Quality</a:t>
            </a:r>
            <a:endParaRPr lang="ru-RU" sz="1400" dirty="0">
              <a:latin typeface="ITC Avant Garde Pro Bk" panose="020B0502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 dirty="0">
              <a:latin typeface="ITC Avant Garde Pro Bk" panose="020B0502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latin typeface="ITC Avant Garde Pro Bk" panose="020B0502020202020204" pitchFamily="34" charset="0"/>
              </a:rPr>
              <a:t>Quantity</a:t>
            </a:r>
            <a:endParaRPr lang="ru-RU" sz="1400" dirty="0">
              <a:latin typeface="ITC Avant Garde Pro Bk" panose="020B0502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 dirty="0">
              <a:latin typeface="ITC Avant Garde Pro Bk" panose="020B0502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latin typeface="ITC Avant Garde Pro Bk" panose="020B0502020202020204" pitchFamily="34" charset="0"/>
              </a:rPr>
              <a:t>Visual info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12E7FB7-DC57-4868-8591-6765FDF7CA2A}"/>
              </a:ext>
            </a:extLst>
          </p:cNvPr>
          <p:cNvSpPr txBox="1"/>
          <p:nvPr/>
        </p:nvSpPr>
        <p:spPr>
          <a:xfrm>
            <a:off x="9524024" y="4621210"/>
            <a:ext cx="197979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latin typeface="ITC Avant Garde Pro Bk" panose="020B0502020202020204" pitchFamily="34" charset="0"/>
              </a:rPr>
              <a:t>Worth recommending</a:t>
            </a:r>
            <a:endParaRPr lang="ru-RU" sz="1400" dirty="0">
              <a:latin typeface="ITC Avant Garde Pro Bk" panose="020B0502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 dirty="0">
              <a:latin typeface="ITC Avant Garde Pro Bk" panose="020B0502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latin typeface="ITC Avant Garde Pro Bk" panose="020B0502020202020204" pitchFamily="34" charset="0"/>
              </a:rPr>
              <a:t>Overall rating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F8F5182F-8474-4B39-BB5C-5DF5771D283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177250" y="1611812"/>
            <a:ext cx="1138048" cy="1138048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12F907E6-F058-4F08-8EAD-63A02341A74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429858" y="1602947"/>
            <a:ext cx="1138048" cy="1138048"/>
          </a:xfrm>
          <a:prstGeom prst="rect">
            <a:avLst/>
          </a:prstGeom>
        </p:spPr>
      </p:pic>
      <p:pic>
        <p:nvPicPr>
          <p:cNvPr id="27" name="Graphic 26">
            <a:extLst>
              <a:ext uri="{FF2B5EF4-FFF2-40B4-BE49-F238E27FC236}">
                <a16:creationId xmlns:a16="http://schemas.microsoft.com/office/drawing/2014/main" id="{305B883C-D770-4077-A7CB-CCD1F78C09F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839077" y="1611811"/>
            <a:ext cx="1138048" cy="1138048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2A99F962-12AA-43EB-AA3C-BB3570E86A4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349142" y="1604602"/>
            <a:ext cx="1138048" cy="1138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84300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2" grpId="0"/>
      <p:bldP spid="13" grpId="0"/>
      <p:bldP spid="14" grpId="0"/>
      <p:bldP spid="15" grpId="0"/>
      <p:bldP spid="16" grpId="0" animBg="1"/>
      <p:bldP spid="17" grpId="0" animBg="1"/>
      <p:bldP spid="18" grpId="0" animBg="1"/>
      <p:bldP spid="19" grpId="0" animBg="1"/>
      <p:bldP spid="20" grpId="0"/>
      <p:bldP spid="21" grpId="0"/>
      <p:bldP spid="22" grpId="0"/>
      <p:bldP spid="23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4FE31BF-6D92-4A2B-8496-759C3601BF9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10863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78" imgH="377" progId="TCLayout.ActiveDocument.1">
                  <p:embed/>
                </p:oleObj>
              </mc:Choice>
              <mc:Fallback>
                <p:oleObj name="think-cell Slide" r:id="rId7" imgW="378" imgH="377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4FE31BF-6D92-4A2B-8496-759C3601BF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4B5935A-45B8-4ED1-953C-4530D87D37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6D2641-81B4-4FA9-AABA-CD0BE301EB4F}" type="slidenum">
              <a:rPr lang="en-US" smtClean="0"/>
              <a:t>43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93DBE02-9687-4881-8D79-CED55C514194}"/>
              </a:ext>
            </a:extLst>
          </p:cNvPr>
          <p:cNvSpPr txBox="1"/>
          <p:nvPr/>
        </p:nvSpPr>
        <p:spPr>
          <a:xfrm>
            <a:off x="688185" y="556502"/>
            <a:ext cx="7410786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ITC Avant Garde Pro Md" panose="020B0602020202020204" pitchFamily="34" charset="0"/>
              </a:rPr>
              <a:t>Survey results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B2D44D2-1F91-4301-A675-9C22128C55CA}"/>
              </a:ext>
            </a:extLst>
          </p:cNvPr>
          <p:cNvCxnSpPr>
            <a:cxnSpLocks/>
          </p:cNvCxnSpPr>
          <p:nvPr/>
        </p:nvCxnSpPr>
        <p:spPr>
          <a:xfrm>
            <a:off x="688185" y="1082000"/>
            <a:ext cx="1101613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Logo, company name&#10;&#10;Description automatically generated">
            <a:extLst>
              <a:ext uri="{FF2B5EF4-FFF2-40B4-BE49-F238E27FC236}">
                <a16:creationId xmlns:a16="http://schemas.microsoft.com/office/drawing/2014/main" id="{69A783B0-84EA-4ACC-9C02-1C764EE8B439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61" t="25662" r="8056" b="25662"/>
          <a:stretch/>
        </p:blipFill>
        <p:spPr>
          <a:xfrm>
            <a:off x="1096932" y="5601938"/>
            <a:ext cx="1167298" cy="308625"/>
          </a:xfrm>
          <a:prstGeom prst="rect">
            <a:avLst/>
          </a:prstGeom>
        </p:spPr>
      </p:pic>
      <p:pic>
        <p:nvPicPr>
          <p:cNvPr id="9" name="Picture 8" descr="A picture containing text, clock&#10;&#10;Description automatically generated">
            <a:extLst>
              <a:ext uri="{FF2B5EF4-FFF2-40B4-BE49-F238E27FC236}">
                <a16:creationId xmlns:a16="http://schemas.microsoft.com/office/drawing/2014/main" id="{5B683BE6-6930-4EB2-8DBB-3359D33B6F38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931" y="3279674"/>
            <a:ext cx="1171689" cy="298652"/>
          </a:xfrm>
          <a:prstGeom prst="rect">
            <a:avLst/>
          </a:prstGeom>
        </p:spPr>
      </p:pic>
      <p:pic>
        <p:nvPicPr>
          <p:cNvPr id="10" name="Picture 9" descr="A picture containing icon&#10;&#10;Description automatically generated">
            <a:extLst>
              <a:ext uri="{FF2B5EF4-FFF2-40B4-BE49-F238E27FC236}">
                <a16:creationId xmlns:a16="http://schemas.microsoft.com/office/drawing/2014/main" id="{97B2A971-0A6C-45D8-991E-C9EED820002B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540" y="4488271"/>
            <a:ext cx="1171689" cy="242607"/>
          </a:xfrm>
          <a:prstGeom prst="rect">
            <a:avLst/>
          </a:prstGeom>
        </p:spPr>
      </p:pic>
      <p:pic>
        <p:nvPicPr>
          <p:cNvPr id="11" name="Picture 2" descr="Image result for magnum go лого">
            <a:extLst>
              <a:ext uri="{FF2B5EF4-FFF2-40B4-BE49-F238E27FC236}">
                <a16:creationId xmlns:a16="http://schemas.microsoft.com/office/drawing/2014/main" id="{AE8A37B8-C8F2-47B9-ADC2-9E73647537B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093" r="42049" b="51254"/>
          <a:stretch/>
        </p:blipFill>
        <p:spPr bwMode="auto">
          <a:xfrm>
            <a:off x="1096931" y="1937789"/>
            <a:ext cx="1167298" cy="726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05" name="Chart 104">
            <a:extLst>
              <a:ext uri="{FF2B5EF4-FFF2-40B4-BE49-F238E27FC236}">
                <a16:creationId xmlns:a16="http://schemas.microsoft.com/office/drawing/2014/main" id="{D5F66E99-58D6-40BC-BBDF-11AF81770BCB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699798"/>
              </p:ext>
            </p:extLst>
          </p:nvPr>
        </p:nvGraphicFramePr>
        <p:xfrm>
          <a:off x="9807575" y="1703388"/>
          <a:ext cx="1824038" cy="4502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2EC009F2-5DF6-42A7-A047-07CCFD347198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62772075"/>
              </p:ext>
            </p:extLst>
          </p:nvPr>
        </p:nvGraphicFramePr>
        <p:xfrm>
          <a:off x="2824163" y="1703388"/>
          <a:ext cx="1824037" cy="4502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103" name="Chart 102">
            <a:extLst>
              <a:ext uri="{FF2B5EF4-FFF2-40B4-BE49-F238E27FC236}">
                <a16:creationId xmlns:a16="http://schemas.microsoft.com/office/drawing/2014/main" id="{F6464546-25D1-417B-8DD4-424CFD10BADC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851060199"/>
              </p:ext>
            </p:extLst>
          </p:nvPr>
        </p:nvGraphicFramePr>
        <p:xfrm>
          <a:off x="5235575" y="1703388"/>
          <a:ext cx="1824038" cy="4502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graphicFrame>
        <p:nvGraphicFramePr>
          <p:cNvPr id="104" name="Chart 103">
            <a:extLst>
              <a:ext uri="{FF2B5EF4-FFF2-40B4-BE49-F238E27FC236}">
                <a16:creationId xmlns:a16="http://schemas.microsoft.com/office/drawing/2014/main" id="{E3CDB784-C0FB-402F-BEBC-A0F88A752610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147779784"/>
              </p:ext>
            </p:extLst>
          </p:nvPr>
        </p:nvGraphicFramePr>
        <p:xfrm>
          <a:off x="7439025" y="1703388"/>
          <a:ext cx="2095500" cy="4502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67" name="TextBox 66">
            <a:extLst>
              <a:ext uri="{FF2B5EF4-FFF2-40B4-BE49-F238E27FC236}">
                <a16:creationId xmlns:a16="http://schemas.microsoft.com/office/drawing/2014/main" id="{9C29D346-461C-45EC-A353-29A6AC35B9AE}"/>
              </a:ext>
            </a:extLst>
          </p:cNvPr>
          <p:cNvSpPr txBox="1"/>
          <p:nvPr/>
        </p:nvSpPr>
        <p:spPr bwMode="gray">
          <a:xfrm>
            <a:off x="688184" y="1173627"/>
            <a:ext cx="11016135" cy="5110821"/>
          </a:xfrm>
          <a:prstGeom prst="rect">
            <a:avLst/>
          </a:prstGeom>
          <a:ln w="9525">
            <a:solidFill>
              <a:srgbClr val="797878"/>
            </a:solidFill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30AF9978-A87A-40EA-A12B-91B2CE893B7E}"/>
              </a:ext>
            </a:extLst>
          </p:cNvPr>
          <p:cNvSpPr txBox="1"/>
          <p:nvPr/>
        </p:nvSpPr>
        <p:spPr bwMode="gray">
          <a:xfrm>
            <a:off x="3118305" y="1475243"/>
            <a:ext cx="1308100" cy="1555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ysClr val="windowText" lastClr="000000"/>
                </a:solidFill>
                <a:latin typeface="Verdana"/>
              </a:rPr>
              <a:t>Functionality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5EC12BED-E210-4F69-9CED-905598101D3F}"/>
              </a:ext>
            </a:extLst>
          </p:cNvPr>
          <p:cNvSpPr txBox="1"/>
          <p:nvPr/>
        </p:nvSpPr>
        <p:spPr bwMode="gray">
          <a:xfrm>
            <a:off x="5492689" y="1490158"/>
            <a:ext cx="1309688" cy="15612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esthetics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7A8EC49D-CA01-41EA-BD06-E2FFDFFA6529}"/>
              </a:ext>
            </a:extLst>
          </p:cNvPr>
          <p:cNvSpPr txBox="1"/>
          <p:nvPr/>
        </p:nvSpPr>
        <p:spPr bwMode="gray">
          <a:xfrm>
            <a:off x="7893952" y="1480860"/>
            <a:ext cx="1309688" cy="15612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nformation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A3B7FA4B-B2D5-451E-9342-BBC1230BE833}"/>
              </a:ext>
            </a:extLst>
          </p:cNvPr>
          <p:cNvSpPr txBox="1"/>
          <p:nvPr/>
        </p:nvSpPr>
        <p:spPr bwMode="gray">
          <a:xfrm>
            <a:off x="10064750" y="1480859"/>
            <a:ext cx="1309688" cy="15612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ubjective quality</a:t>
            </a:r>
          </a:p>
        </p:txBody>
      </p:sp>
    </p:spTree>
    <p:extLst>
      <p:ext uri="{BB962C8B-B14F-4D97-AF65-F5344CB8AC3E}">
        <p14:creationId xmlns:p14="http://schemas.microsoft.com/office/powerpoint/2010/main" val="98459102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9FBDCD-8AFA-4187-9760-F291DAA622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9FBDCD-8AFA-4187-9760-F291DAA622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D8FAFC92-18B7-49DE-AAC3-D2B7F9C3702B}"/>
              </a:ext>
            </a:extLst>
          </p:cNvPr>
          <p:cNvSpPr txBox="1"/>
          <p:nvPr/>
        </p:nvSpPr>
        <p:spPr>
          <a:xfrm>
            <a:off x="688185" y="556502"/>
            <a:ext cx="7410786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ITC Avant Garde Pro Md" panose="020B0602020202020204" pitchFamily="34" charset="0"/>
              </a:rPr>
              <a:t>Results framework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1AA9B49-BA61-4EF2-9425-856B67E46035}"/>
              </a:ext>
            </a:extLst>
          </p:cNvPr>
          <p:cNvSpPr/>
          <p:nvPr/>
        </p:nvSpPr>
        <p:spPr>
          <a:xfrm>
            <a:off x="809896" y="1770017"/>
            <a:ext cx="10528663" cy="822960"/>
          </a:xfrm>
          <a:prstGeom prst="rect">
            <a:avLst/>
          </a:prstGeom>
          <a:solidFill>
            <a:srgbClr val="1B26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  <a:latin typeface="ITC Avant Garde Pro Md" panose="020B0602020202020204" pitchFamily="34" charset="0"/>
              </a:rPr>
              <a:t>Assortment improvement of Magnum retail chain </a:t>
            </a:r>
          </a:p>
          <a:p>
            <a:pPr algn="ctr"/>
            <a:r>
              <a:rPr lang="en-US" dirty="0">
                <a:solidFill>
                  <a:schemeClr val="bg1"/>
                </a:solidFill>
                <a:latin typeface="ITC Avant Garde Pro Md" panose="020B0602020202020204" pitchFamily="34" charset="0"/>
              </a:rPr>
              <a:t>through e-commerce channels: A Data Analytics approach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C3892E7-8492-4E13-A471-0922F3CFFB37}"/>
              </a:ext>
            </a:extLst>
          </p:cNvPr>
          <p:cNvSpPr/>
          <p:nvPr/>
        </p:nvSpPr>
        <p:spPr>
          <a:xfrm>
            <a:off x="809896" y="2808514"/>
            <a:ext cx="2037807" cy="2599509"/>
          </a:xfrm>
          <a:prstGeom prst="rect">
            <a:avLst/>
          </a:prstGeom>
          <a:noFill/>
          <a:ln>
            <a:solidFill>
              <a:srgbClr val="1B26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6F3619-DD23-4B32-A2D4-C574C792E430}"/>
              </a:ext>
            </a:extLst>
          </p:cNvPr>
          <p:cNvSpPr/>
          <p:nvPr/>
        </p:nvSpPr>
        <p:spPr>
          <a:xfrm>
            <a:off x="2926078" y="2808514"/>
            <a:ext cx="2037807" cy="2599509"/>
          </a:xfrm>
          <a:prstGeom prst="rect">
            <a:avLst/>
          </a:prstGeom>
          <a:noFill/>
          <a:ln>
            <a:solidFill>
              <a:srgbClr val="1B26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0F15420-6343-4089-BC3B-1965FFFEE3E9}"/>
              </a:ext>
            </a:extLst>
          </p:cNvPr>
          <p:cNvSpPr/>
          <p:nvPr/>
        </p:nvSpPr>
        <p:spPr>
          <a:xfrm>
            <a:off x="5050970" y="2808514"/>
            <a:ext cx="2037807" cy="2599509"/>
          </a:xfrm>
          <a:prstGeom prst="rect">
            <a:avLst/>
          </a:prstGeom>
          <a:noFill/>
          <a:ln>
            <a:solidFill>
              <a:srgbClr val="1B26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558B1BE-30D9-4EBE-B82D-7E333A6202A8}"/>
              </a:ext>
            </a:extLst>
          </p:cNvPr>
          <p:cNvSpPr/>
          <p:nvPr/>
        </p:nvSpPr>
        <p:spPr>
          <a:xfrm>
            <a:off x="7188926" y="2808514"/>
            <a:ext cx="2037807" cy="2599509"/>
          </a:xfrm>
          <a:prstGeom prst="rect">
            <a:avLst/>
          </a:prstGeom>
          <a:noFill/>
          <a:ln>
            <a:solidFill>
              <a:srgbClr val="1B26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0772D22-7F36-412E-9CCC-5299D5D92B15}"/>
              </a:ext>
            </a:extLst>
          </p:cNvPr>
          <p:cNvSpPr/>
          <p:nvPr/>
        </p:nvSpPr>
        <p:spPr>
          <a:xfrm>
            <a:off x="9318171" y="2808514"/>
            <a:ext cx="2037807" cy="2599509"/>
          </a:xfrm>
          <a:prstGeom prst="rect">
            <a:avLst/>
          </a:prstGeom>
          <a:solidFill>
            <a:srgbClr val="1B262A"/>
          </a:solidFill>
          <a:ln>
            <a:solidFill>
              <a:srgbClr val="1B26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1BB43B2-8756-4C3E-93B0-253FACE8C63F}"/>
              </a:ext>
            </a:extLst>
          </p:cNvPr>
          <p:cNvSpPr txBox="1"/>
          <p:nvPr/>
        </p:nvSpPr>
        <p:spPr>
          <a:xfrm>
            <a:off x="788122" y="3919931"/>
            <a:ext cx="20378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ITC Avant Garde Pro Bk" panose="020B0502020202020204" pitchFamily="34" charset="0"/>
              </a:rPr>
              <a:t>Offline vs. Onlin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7E841BD-27E2-4F23-AF4D-7B79FC0283FE}"/>
              </a:ext>
            </a:extLst>
          </p:cNvPr>
          <p:cNvSpPr txBox="1"/>
          <p:nvPr/>
        </p:nvSpPr>
        <p:spPr>
          <a:xfrm>
            <a:off x="2913014" y="3815879"/>
            <a:ext cx="20378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ITC Avant Garde Pro Bk" panose="020B0502020202020204" pitchFamily="34" charset="0"/>
              </a:rPr>
              <a:t>Competitor analysi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1D84FAA-E1C0-4F12-91F1-DFCDB184408B}"/>
              </a:ext>
            </a:extLst>
          </p:cNvPr>
          <p:cNvSpPr txBox="1"/>
          <p:nvPr/>
        </p:nvSpPr>
        <p:spPr>
          <a:xfrm>
            <a:off x="5107575" y="3796820"/>
            <a:ext cx="192459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ITC Avant Garde Pro Bk" panose="020B0502020202020204" pitchFamily="34" charset="0"/>
              </a:rPr>
              <a:t>Categorization and listin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38ED2F7-20DD-4016-996E-84C4D6B1970D}"/>
              </a:ext>
            </a:extLst>
          </p:cNvPr>
          <p:cNvSpPr txBox="1"/>
          <p:nvPr/>
        </p:nvSpPr>
        <p:spPr>
          <a:xfrm>
            <a:off x="7201990" y="3841993"/>
            <a:ext cx="20378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ITC Avant Garde Pro Bk" panose="020B0502020202020204" pitchFamily="34" charset="0"/>
              </a:rPr>
              <a:t>Mobile app ergonomic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F04B605-EB32-44D4-B833-99ECAA80A1E5}"/>
              </a:ext>
            </a:extLst>
          </p:cNvPr>
          <p:cNvSpPr txBox="1"/>
          <p:nvPr/>
        </p:nvSpPr>
        <p:spPr>
          <a:xfrm>
            <a:off x="9326882" y="3815874"/>
            <a:ext cx="20378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ITC Avant Garde Pro Bk" panose="020B0502020202020204" pitchFamily="34" charset="0"/>
              </a:rPr>
              <a:t>Interactive Dashboard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3C7766D-E193-4077-80FA-33056F2BB974}"/>
              </a:ext>
            </a:extLst>
          </p:cNvPr>
          <p:cNvCxnSpPr>
            <a:cxnSpLocks/>
          </p:cNvCxnSpPr>
          <p:nvPr/>
        </p:nvCxnSpPr>
        <p:spPr>
          <a:xfrm>
            <a:off x="688185" y="1082000"/>
            <a:ext cx="1101613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0FB8D5-8EDC-4118-BC4A-74497CB3E5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6D2641-81B4-4FA9-AABA-CD0BE301EB4F}" type="slidenum">
              <a:rPr lang="en-US" smtClean="0"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5140651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4FE31BF-6D92-4A2B-8496-759C3601BF9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4FE31BF-6D92-4A2B-8496-759C3601BF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4B5935A-45B8-4ED1-953C-4530D87D37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6D2641-81B4-4FA9-AABA-CD0BE301EB4F}" type="slidenum">
              <a:rPr lang="en-US" smtClean="0"/>
              <a:t>45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93DBE02-9687-4881-8D79-CED55C514194}"/>
              </a:ext>
            </a:extLst>
          </p:cNvPr>
          <p:cNvSpPr txBox="1"/>
          <p:nvPr/>
        </p:nvSpPr>
        <p:spPr>
          <a:xfrm>
            <a:off x="2390607" y="3134400"/>
            <a:ext cx="7410786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3200" dirty="0">
                <a:latin typeface="ITC Avant Garde Pro Md" panose="020B0602020202020204" pitchFamily="34" charset="0"/>
              </a:rPr>
              <a:t>Interactive dashboard</a:t>
            </a:r>
          </a:p>
        </p:txBody>
      </p:sp>
    </p:spTree>
    <p:extLst>
      <p:ext uri="{BB962C8B-B14F-4D97-AF65-F5344CB8AC3E}">
        <p14:creationId xmlns:p14="http://schemas.microsoft.com/office/powerpoint/2010/main" val="12196155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8188AD-9094-4C66-BE47-9C889B1594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8188AD-9094-4C66-BE47-9C889B1594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66584611-B9BD-493F-90BA-81739C2DC2FB}"/>
              </a:ext>
            </a:extLst>
          </p:cNvPr>
          <p:cNvSpPr/>
          <p:nvPr/>
        </p:nvSpPr>
        <p:spPr>
          <a:xfrm>
            <a:off x="10485296" y="0"/>
            <a:ext cx="1706704" cy="6858000"/>
          </a:xfrm>
          <a:prstGeom prst="rect">
            <a:avLst/>
          </a:prstGeom>
          <a:solidFill>
            <a:srgbClr val="1B26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885B069-12B1-4D5E-A241-F108F36069DA}"/>
              </a:ext>
            </a:extLst>
          </p:cNvPr>
          <p:cNvSpPr txBox="1"/>
          <p:nvPr/>
        </p:nvSpPr>
        <p:spPr>
          <a:xfrm>
            <a:off x="601013" y="5176290"/>
            <a:ext cx="9679456" cy="10156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6000" dirty="0">
                <a:solidFill>
                  <a:srgbClr val="1B262A"/>
                </a:solidFill>
                <a:latin typeface="ITC Avant Garde Pro Md" panose="020B0602020202020204" pitchFamily="34" charset="0"/>
              </a:rPr>
              <a:t>Conclusi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4B60A28-A434-42BB-A331-28E026EE266B}"/>
              </a:ext>
            </a:extLst>
          </p:cNvPr>
          <p:cNvSpPr txBox="1"/>
          <p:nvPr/>
        </p:nvSpPr>
        <p:spPr>
          <a:xfrm>
            <a:off x="461549" y="2870199"/>
            <a:ext cx="2464531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0" dirty="0">
                <a:solidFill>
                  <a:srgbClr val="1B262A"/>
                </a:solidFill>
                <a:latin typeface="Bahnschrift SemiLight Condensed" panose="020B0502040204020203" pitchFamily="34" charset="0"/>
              </a:rPr>
              <a:t>0</a:t>
            </a:r>
            <a:r>
              <a:rPr lang="ru-RU" sz="15000" dirty="0">
                <a:solidFill>
                  <a:srgbClr val="1B262A"/>
                </a:solidFill>
                <a:latin typeface="Bahnschrift SemiLight Condensed" panose="020B0502040204020203" pitchFamily="34" charset="0"/>
              </a:rPr>
              <a:t>5</a:t>
            </a:r>
            <a:endParaRPr lang="en-US" sz="15000" dirty="0">
              <a:solidFill>
                <a:srgbClr val="1B262A"/>
              </a:solidFill>
              <a:latin typeface="Bahnschrift SemiLight Condensed" panose="020B0502040204020203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CBEEC90-7251-4303-9EAE-AC2AC951AE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6D2641-81B4-4FA9-AABA-CD0BE301EB4F}" type="slidenum">
              <a:rPr lang="en-US" smtClean="0"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2468570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CB947FD-7547-46B3-B986-A1093FC0D42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CB947FD-7547-46B3-B986-A1093FC0D4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24089C08-8E8A-4CB5-B840-11BDAED137E0}"/>
              </a:ext>
            </a:extLst>
          </p:cNvPr>
          <p:cNvSpPr txBox="1"/>
          <p:nvPr/>
        </p:nvSpPr>
        <p:spPr>
          <a:xfrm>
            <a:off x="688185" y="556502"/>
            <a:ext cx="8782386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ITC Avant Garde Pro Md" panose="020B0602020202020204" pitchFamily="34" charset="0"/>
              </a:rPr>
              <a:t>Conclusion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29F9172-829C-4FEC-941D-F7A4D085A5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6D2641-81B4-4FA9-AABA-CD0BE301EB4F}" type="slidenum">
              <a:rPr lang="en-US" smtClean="0"/>
              <a:t>47</a:t>
            </a:fld>
            <a:endParaRPr lang="en-US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0D7D7EF6-2F59-4160-8723-0028DE366CDB}"/>
              </a:ext>
            </a:extLst>
          </p:cNvPr>
          <p:cNvCxnSpPr>
            <a:cxnSpLocks/>
          </p:cNvCxnSpPr>
          <p:nvPr/>
        </p:nvCxnSpPr>
        <p:spPr>
          <a:xfrm>
            <a:off x="688185" y="1082000"/>
            <a:ext cx="1101613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2379526E-7B4E-4017-8BA4-B5EC6469ED71}"/>
              </a:ext>
            </a:extLst>
          </p:cNvPr>
          <p:cNvSpPr/>
          <p:nvPr/>
        </p:nvSpPr>
        <p:spPr>
          <a:xfrm>
            <a:off x="796834" y="1748228"/>
            <a:ext cx="10554789" cy="1162593"/>
          </a:xfrm>
          <a:prstGeom prst="rect">
            <a:avLst/>
          </a:prstGeom>
          <a:solidFill>
            <a:srgbClr val="1B26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ITC Avant Garde Pro Md" panose="020B0602020202020204" pitchFamily="34" charset="0"/>
              </a:rPr>
              <a:t>Assortment improvement of Magnum retail chain </a:t>
            </a:r>
          </a:p>
          <a:p>
            <a:pPr algn="ctr"/>
            <a:r>
              <a:rPr lang="en-US" dirty="0">
                <a:latin typeface="ITC Avant Garde Pro Md" panose="020B0602020202020204" pitchFamily="34" charset="0"/>
              </a:rPr>
              <a:t>through e-commerce channels: A Data Analytics approac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83FFB4F-5FD5-46C1-9308-E82356FEC7CA}"/>
              </a:ext>
            </a:extLst>
          </p:cNvPr>
          <p:cNvSpPr/>
          <p:nvPr/>
        </p:nvSpPr>
        <p:spPr>
          <a:xfrm>
            <a:off x="2930436" y="3095896"/>
            <a:ext cx="1959428" cy="268010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rgbClr val="1B26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232B567-FFC6-448C-897A-B8A9862C9F8C}"/>
              </a:ext>
            </a:extLst>
          </p:cNvPr>
          <p:cNvSpPr txBox="1"/>
          <p:nvPr/>
        </p:nvSpPr>
        <p:spPr>
          <a:xfrm>
            <a:off x="2930435" y="4419979"/>
            <a:ext cx="1959428" cy="11590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600" dirty="0">
                <a:latin typeface="ITC Avant Garde Pro Md" panose="020B0602020202020204" pitchFamily="34" charset="0"/>
              </a:rPr>
              <a:t>Competitor analysis and benchmarking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E033D71-509B-48D8-9CDB-2D932173348F}"/>
              </a:ext>
            </a:extLst>
          </p:cNvPr>
          <p:cNvSpPr/>
          <p:nvPr/>
        </p:nvSpPr>
        <p:spPr>
          <a:xfrm>
            <a:off x="5064036" y="3095897"/>
            <a:ext cx="1959428" cy="268010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1B26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F8393A4-F086-4B8B-9334-7810C04CA5F3}"/>
              </a:ext>
            </a:extLst>
          </p:cNvPr>
          <p:cNvSpPr txBox="1"/>
          <p:nvPr/>
        </p:nvSpPr>
        <p:spPr>
          <a:xfrm>
            <a:off x="5064036" y="4499227"/>
            <a:ext cx="1959428" cy="11590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600" dirty="0">
                <a:latin typeface="ITC Avant Garde Pro Md" panose="020B0602020202020204" pitchFamily="34" charset="0"/>
              </a:rPr>
              <a:t>Categorization and listing algorithms</a:t>
            </a:r>
            <a:endParaRPr lang="en-US" sz="1600" dirty="0">
              <a:highlight>
                <a:srgbClr val="FFFF00"/>
              </a:highlight>
              <a:latin typeface="ITC Avant Garde Pro Md" panose="020B0602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BACE87E-DA2B-4E81-ABA4-A46973847B9A}"/>
              </a:ext>
            </a:extLst>
          </p:cNvPr>
          <p:cNvSpPr/>
          <p:nvPr/>
        </p:nvSpPr>
        <p:spPr>
          <a:xfrm>
            <a:off x="7228115" y="3095897"/>
            <a:ext cx="1959428" cy="268010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1B26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BDEDE8F-90C6-4634-B9A4-6F708B351621}"/>
              </a:ext>
            </a:extLst>
          </p:cNvPr>
          <p:cNvSpPr txBox="1"/>
          <p:nvPr/>
        </p:nvSpPr>
        <p:spPr>
          <a:xfrm>
            <a:off x="7228114" y="4590767"/>
            <a:ext cx="1959428" cy="7897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600" dirty="0">
                <a:latin typeface="ITC Avant Garde Pro Md" panose="020B0602020202020204" pitchFamily="34" charset="0"/>
              </a:rPr>
              <a:t>Mobile ergonomic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D1FFB3C-EABF-427E-97BD-2C9DE3E47DA8}"/>
              </a:ext>
            </a:extLst>
          </p:cNvPr>
          <p:cNvSpPr/>
          <p:nvPr/>
        </p:nvSpPr>
        <p:spPr>
          <a:xfrm>
            <a:off x="9392195" y="3095899"/>
            <a:ext cx="1959428" cy="2680103"/>
          </a:xfrm>
          <a:prstGeom prst="rect">
            <a:avLst/>
          </a:prstGeom>
          <a:solidFill>
            <a:schemeClr val="bg1"/>
          </a:solidFill>
          <a:ln>
            <a:solidFill>
              <a:srgbClr val="1B26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525F15B-3507-48A1-ABAA-12B67FFB782B}"/>
              </a:ext>
            </a:extLst>
          </p:cNvPr>
          <p:cNvSpPr txBox="1"/>
          <p:nvPr/>
        </p:nvSpPr>
        <p:spPr>
          <a:xfrm>
            <a:off x="9392194" y="4604644"/>
            <a:ext cx="1959428" cy="7897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600" dirty="0">
                <a:latin typeface="ITC Avant Garde Pro Md" panose="020B0602020202020204" pitchFamily="34" charset="0"/>
              </a:rPr>
              <a:t>Interactive dashboard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31FFAE4-4C7E-4354-A23F-C1DCE1BB6F55}"/>
              </a:ext>
            </a:extLst>
          </p:cNvPr>
          <p:cNvSpPr/>
          <p:nvPr/>
        </p:nvSpPr>
        <p:spPr>
          <a:xfrm>
            <a:off x="796835" y="3095897"/>
            <a:ext cx="1959428" cy="268010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rgbClr val="1B26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5CC62B6-AA76-4ECB-948C-22A3E354E822}"/>
              </a:ext>
            </a:extLst>
          </p:cNvPr>
          <p:cNvSpPr txBox="1"/>
          <p:nvPr/>
        </p:nvSpPr>
        <p:spPr>
          <a:xfrm>
            <a:off x="796835" y="4499227"/>
            <a:ext cx="1959428" cy="4203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600" dirty="0">
                <a:latin typeface="ITC Avant Garde Pro Md" panose="020B0602020202020204" pitchFamily="34" charset="0"/>
              </a:rPr>
              <a:t>Online vs. Offlin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4222238-0E5B-4E5B-A08E-F4C5521ADFA2}"/>
              </a:ext>
            </a:extLst>
          </p:cNvPr>
          <p:cNvSpPr txBox="1"/>
          <p:nvPr/>
        </p:nvSpPr>
        <p:spPr>
          <a:xfrm>
            <a:off x="1645664" y="3574176"/>
            <a:ext cx="370626" cy="861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 dirty="0">
                <a:latin typeface="Bahnschrift SemiLight Condensed" panose="020B0502040204020203" pitchFamily="34" charset="0"/>
              </a:rPr>
              <a:t>I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CCB3679-9185-47D5-9619-C78A33E416E8}"/>
              </a:ext>
            </a:extLst>
          </p:cNvPr>
          <p:cNvSpPr txBox="1"/>
          <p:nvPr/>
        </p:nvSpPr>
        <p:spPr>
          <a:xfrm>
            <a:off x="3701143" y="3574173"/>
            <a:ext cx="44849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 dirty="0">
                <a:latin typeface="Bahnschrift SemiLight Condensed" panose="020B0502040204020203" pitchFamily="34" charset="0"/>
              </a:rPr>
              <a:t>II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DF4F043-DA78-45ED-A910-7388D03A34DE}"/>
              </a:ext>
            </a:extLst>
          </p:cNvPr>
          <p:cNvSpPr txBox="1"/>
          <p:nvPr/>
        </p:nvSpPr>
        <p:spPr>
          <a:xfrm>
            <a:off x="5792475" y="3574173"/>
            <a:ext cx="563505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 dirty="0">
                <a:latin typeface="Bahnschrift SemiLight Condensed" panose="020B0502040204020203" pitchFamily="34" charset="0"/>
              </a:rPr>
              <a:t>III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5CBBC37-F5F9-4B27-ACAB-DDE8AB011DC9}"/>
              </a:ext>
            </a:extLst>
          </p:cNvPr>
          <p:cNvSpPr txBox="1"/>
          <p:nvPr/>
        </p:nvSpPr>
        <p:spPr>
          <a:xfrm>
            <a:off x="7929152" y="3543917"/>
            <a:ext cx="583477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 dirty="0">
                <a:latin typeface="Bahnschrift SemiLight Condensed" panose="020B0502040204020203" pitchFamily="34" charset="0"/>
              </a:rPr>
              <a:t>IV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FC30A82-B4A3-44B6-BB44-64309E5BFF44}"/>
              </a:ext>
            </a:extLst>
          </p:cNvPr>
          <p:cNvSpPr txBox="1"/>
          <p:nvPr/>
        </p:nvSpPr>
        <p:spPr>
          <a:xfrm>
            <a:off x="10156371" y="3543917"/>
            <a:ext cx="431074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 dirty="0">
                <a:latin typeface="Bahnschrift SemiLight Condensed" panose="020B0502040204020203" pitchFamily="34" charset="0"/>
              </a:rPr>
              <a:t>V</a:t>
            </a:r>
          </a:p>
        </p:txBody>
      </p:sp>
    </p:spTree>
    <p:extLst>
      <p:ext uri="{BB962C8B-B14F-4D97-AF65-F5344CB8AC3E}">
        <p14:creationId xmlns:p14="http://schemas.microsoft.com/office/powerpoint/2010/main" val="39510680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6" grpId="0"/>
      <p:bldP spid="17" grpId="0" animBg="1"/>
      <p:bldP spid="18" grpId="0"/>
      <p:bldP spid="19" grpId="0" animBg="1"/>
      <p:bldP spid="20" grpId="0"/>
      <p:bldP spid="21" grpId="0" animBg="1"/>
      <p:bldP spid="22" grpId="0"/>
      <p:bldP spid="24" grpId="0" animBg="1"/>
      <p:bldP spid="25" grpId="0"/>
      <p:bldP spid="26" grpId="0"/>
      <p:bldP spid="27" grpId="0"/>
      <p:bldP spid="28" grpId="0"/>
      <p:bldP spid="29" grpId="0"/>
      <p:bldP spid="30" grpId="0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CB947FD-7547-46B3-B986-A1093FC0D42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8173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CB947FD-7547-46B3-B986-A1093FC0D4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Rectangle 38">
            <a:extLst>
              <a:ext uri="{FF2B5EF4-FFF2-40B4-BE49-F238E27FC236}">
                <a16:creationId xmlns:a16="http://schemas.microsoft.com/office/drawing/2014/main" id="{7E8D5D73-AB65-4E1C-BF32-17DC4368656B}"/>
              </a:ext>
            </a:extLst>
          </p:cNvPr>
          <p:cNvSpPr/>
          <p:nvPr/>
        </p:nvSpPr>
        <p:spPr>
          <a:xfrm>
            <a:off x="734830" y="5250792"/>
            <a:ext cx="1045029" cy="9625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461E8E6F-20A4-4D5E-989D-EA65DADDBBE5}"/>
              </a:ext>
            </a:extLst>
          </p:cNvPr>
          <p:cNvSpPr/>
          <p:nvPr/>
        </p:nvSpPr>
        <p:spPr>
          <a:xfrm>
            <a:off x="734830" y="4009271"/>
            <a:ext cx="1045029" cy="9625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662F853-E306-4477-B193-70FE1490ABD8}"/>
              </a:ext>
            </a:extLst>
          </p:cNvPr>
          <p:cNvSpPr/>
          <p:nvPr/>
        </p:nvSpPr>
        <p:spPr>
          <a:xfrm>
            <a:off x="734830" y="2675850"/>
            <a:ext cx="1045029" cy="9625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CA2326A-21EE-478B-8B53-08B29B7E9514}"/>
              </a:ext>
            </a:extLst>
          </p:cNvPr>
          <p:cNvSpPr/>
          <p:nvPr/>
        </p:nvSpPr>
        <p:spPr>
          <a:xfrm>
            <a:off x="734830" y="1411072"/>
            <a:ext cx="1045029" cy="9625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4089C08-8E8A-4CB5-B840-11BDAED137E0}"/>
              </a:ext>
            </a:extLst>
          </p:cNvPr>
          <p:cNvSpPr txBox="1"/>
          <p:nvPr/>
        </p:nvSpPr>
        <p:spPr>
          <a:xfrm>
            <a:off x="688185" y="556502"/>
            <a:ext cx="8782386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ITC Avant Garde Pro Md" panose="020B0602020202020204" pitchFamily="34" charset="0"/>
              </a:rPr>
              <a:t>Contribution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29F9172-829C-4FEC-941D-F7A4D085A5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6D2641-81B4-4FA9-AABA-CD0BE301EB4F}" type="slidenum">
              <a:rPr lang="en-US" smtClean="0"/>
              <a:t>48</a:t>
            </a:fld>
            <a:endParaRPr lang="en-US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0D7D7EF6-2F59-4160-8723-0028DE366CDB}"/>
              </a:ext>
            </a:extLst>
          </p:cNvPr>
          <p:cNvCxnSpPr>
            <a:cxnSpLocks/>
          </p:cNvCxnSpPr>
          <p:nvPr/>
        </p:nvCxnSpPr>
        <p:spPr>
          <a:xfrm>
            <a:off x="688185" y="1082000"/>
            <a:ext cx="6391884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B369D85F-8484-4C6F-BF3A-109FEEF0ED3A}"/>
              </a:ext>
            </a:extLst>
          </p:cNvPr>
          <p:cNvSpPr txBox="1"/>
          <p:nvPr/>
        </p:nvSpPr>
        <p:spPr>
          <a:xfrm>
            <a:off x="816365" y="1347238"/>
            <a:ext cx="78708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latin typeface="Bahnschrift SemiLight Condensed" panose="020B0502040204020203" pitchFamily="34" charset="0"/>
              </a:rPr>
              <a:t>01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8459AC6-3B01-49A5-A57E-4E1102048FBC}"/>
              </a:ext>
            </a:extLst>
          </p:cNvPr>
          <p:cNvSpPr txBox="1"/>
          <p:nvPr/>
        </p:nvSpPr>
        <p:spPr>
          <a:xfrm>
            <a:off x="793525" y="2599525"/>
            <a:ext cx="91771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latin typeface="Bahnschrift SemiLight Condensed" panose="020B0502040204020203" pitchFamily="34" charset="0"/>
              </a:rPr>
              <a:t>02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F801507-4A04-418C-AAB9-35C40D962033}"/>
              </a:ext>
            </a:extLst>
          </p:cNvPr>
          <p:cNvSpPr txBox="1"/>
          <p:nvPr/>
        </p:nvSpPr>
        <p:spPr>
          <a:xfrm>
            <a:off x="793525" y="3922964"/>
            <a:ext cx="91771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latin typeface="Bahnschrift SemiLight Condensed" panose="020B0502040204020203" pitchFamily="34" charset="0"/>
              </a:rPr>
              <a:t>03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A92C1F82-13C1-4683-B415-205189F3C493}"/>
              </a:ext>
            </a:extLst>
          </p:cNvPr>
          <p:cNvSpPr txBox="1"/>
          <p:nvPr/>
        </p:nvSpPr>
        <p:spPr>
          <a:xfrm>
            <a:off x="793525" y="5246403"/>
            <a:ext cx="91771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latin typeface="Bahnschrift SemiLight Condensed" panose="020B0502040204020203" pitchFamily="34" charset="0"/>
              </a:rPr>
              <a:t>04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C0911611-3ADD-4816-B35F-6758B14A5F6F}"/>
              </a:ext>
            </a:extLst>
          </p:cNvPr>
          <p:cNvSpPr txBox="1"/>
          <p:nvPr/>
        </p:nvSpPr>
        <p:spPr>
          <a:xfrm>
            <a:off x="1949634" y="1454499"/>
            <a:ext cx="5670787" cy="8717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>
                <a:latin typeface="ITC Avant Garde Pro Bk" panose="020B0502020202020204" pitchFamily="34" charset="0"/>
              </a:rPr>
              <a:t>Comprehensive analytical foundation for improving Magnum Go e-commerce channel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AD530B35-053D-4576-AFD4-6450F21EC270}"/>
              </a:ext>
            </a:extLst>
          </p:cNvPr>
          <p:cNvSpPr txBox="1"/>
          <p:nvPr/>
        </p:nvSpPr>
        <p:spPr>
          <a:xfrm>
            <a:off x="1900603" y="2961162"/>
            <a:ext cx="609382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latin typeface="ITC Avant Garde Pro Bk" panose="020B0502020202020204" pitchFamily="34" charset="0"/>
              </a:rPr>
              <a:t>Tools for data-driven strategic decisions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5E1A918-63E3-4080-BD9B-D3C5C62E769A}"/>
              </a:ext>
            </a:extLst>
          </p:cNvPr>
          <p:cNvSpPr txBox="1"/>
          <p:nvPr/>
        </p:nvSpPr>
        <p:spPr>
          <a:xfrm>
            <a:off x="1949633" y="4305877"/>
            <a:ext cx="609382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latin typeface="ITC Avant Garde Pro Bk" panose="020B0502020202020204" pitchFamily="34" charset="0"/>
              </a:rPr>
              <a:t>Industry benchmarking in e-commerce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F68EA973-A10C-47ED-B2E4-6B08111DED96}"/>
              </a:ext>
            </a:extLst>
          </p:cNvPr>
          <p:cNvSpPr txBox="1"/>
          <p:nvPr/>
        </p:nvSpPr>
        <p:spPr>
          <a:xfrm>
            <a:off x="1900603" y="5547398"/>
            <a:ext cx="609382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latin typeface="ITC Avant Garde Pro Bk" panose="020B0502020202020204" pitchFamily="34" charset="0"/>
              </a:rPr>
              <a:t>Major areas of improvements for mobile app</a:t>
            </a:r>
          </a:p>
        </p:txBody>
      </p:sp>
      <p:pic>
        <p:nvPicPr>
          <p:cNvPr id="44" name="Picture 43" descr="A group of people sitting around a table&#10;&#10;Description automatically generated with medium confidence">
            <a:extLst>
              <a:ext uri="{FF2B5EF4-FFF2-40B4-BE49-F238E27FC236}">
                <a16:creationId xmlns:a16="http://schemas.microsoft.com/office/drawing/2014/main" id="{33A64B6E-3046-45CD-9E52-C6F0A2C5A51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421" y="0"/>
            <a:ext cx="457157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6582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 animBg="1"/>
      <p:bldP spid="37" grpId="0" animBg="1"/>
      <p:bldP spid="36" grpId="0" animBg="1"/>
      <p:bldP spid="3" grpId="0" animBg="1"/>
      <p:bldP spid="32" grpId="0"/>
      <p:bldP spid="33" grpId="0"/>
      <p:bldP spid="34" grpId="0"/>
      <p:bldP spid="35" grpId="0"/>
      <p:bldP spid="40" grpId="0"/>
      <p:bldP spid="41" grpId="0"/>
      <p:bldP spid="42" grpId="0"/>
      <p:bldP spid="43" grpId="0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CB947FD-7547-46B3-B986-A1093FC0D42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CB947FD-7547-46B3-B986-A1093FC0D4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24089C08-8E8A-4CB5-B840-11BDAED137E0}"/>
              </a:ext>
            </a:extLst>
          </p:cNvPr>
          <p:cNvSpPr txBox="1"/>
          <p:nvPr/>
        </p:nvSpPr>
        <p:spPr>
          <a:xfrm>
            <a:off x="688185" y="556502"/>
            <a:ext cx="8782386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ITC Avant Garde Pro Md" panose="020B0602020202020204" pitchFamily="34" charset="0"/>
              </a:rPr>
              <a:t>Future work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29F9172-829C-4FEC-941D-F7A4D085A5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6D2641-81B4-4FA9-AABA-CD0BE301EB4F}" type="slidenum">
              <a:rPr lang="en-US" smtClean="0"/>
              <a:t>49</a:t>
            </a:fld>
            <a:endParaRPr lang="en-US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0D7D7EF6-2F59-4160-8723-0028DE366CDB}"/>
              </a:ext>
            </a:extLst>
          </p:cNvPr>
          <p:cNvCxnSpPr>
            <a:cxnSpLocks/>
          </p:cNvCxnSpPr>
          <p:nvPr/>
        </p:nvCxnSpPr>
        <p:spPr>
          <a:xfrm>
            <a:off x="688185" y="1082000"/>
            <a:ext cx="6143689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5C52F2D4-CD05-459B-BF4E-A4B4445B4816}"/>
              </a:ext>
            </a:extLst>
          </p:cNvPr>
          <p:cNvSpPr/>
          <p:nvPr/>
        </p:nvSpPr>
        <p:spPr>
          <a:xfrm>
            <a:off x="734830" y="5250792"/>
            <a:ext cx="1045029" cy="9625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4F30F2D-7CB1-48F7-9DE3-CABF472066AB}"/>
              </a:ext>
            </a:extLst>
          </p:cNvPr>
          <p:cNvSpPr/>
          <p:nvPr/>
        </p:nvSpPr>
        <p:spPr>
          <a:xfrm>
            <a:off x="734830" y="4009271"/>
            <a:ext cx="1045029" cy="9625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01D22AA-21AE-460A-8C2F-E39A0793A42B}"/>
              </a:ext>
            </a:extLst>
          </p:cNvPr>
          <p:cNvSpPr/>
          <p:nvPr/>
        </p:nvSpPr>
        <p:spPr>
          <a:xfrm>
            <a:off x="734830" y="2675850"/>
            <a:ext cx="1045029" cy="9625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3E16E6B-88CE-4C37-B140-88EDD28130F4}"/>
              </a:ext>
            </a:extLst>
          </p:cNvPr>
          <p:cNvSpPr/>
          <p:nvPr/>
        </p:nvSpPr>
        <p:spPr>
          <a:xfrm>
            <a:off x="734830" y="1411072"/>
            <a:ext cx="1045029" cy="9625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42DC6CC-0AA0-4F12-BB40-1B940BA9828B}"/>
              </a:ext>
            </a:extLst>
          </p:cNvPr>
          <p:cNvSpPr txBox="1"/>
          <p:nvPr/>
        </p:nvSpPr>
        <p:spPr>
          <a:xfrm>
            <a:off x="816365" y="1347238"/>
            <a:ext cx="78708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latin typeface="Bahnschrift SemiLight Condensed" panose="020B0502040204020203" pitchFamily="34" charset="0"/>
              </a:rPr>
              <a:t>01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7C6CE0F-2DDA-4606-92E4-1455307205A9}"/>
              </a:ext>
            </a:extLst>
          </p:cNvPr>
          <p:cNvSpPr txBox="1"/>
          <p:nvPr/>
        </p:nvSpPr>
        <p:spPr>
          <a:xfrm>
            <a:off x="793525" y="2599525"/>
            <a:ext cx="91771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latin typeface="Bahnschrift SemiLight Condensed" panose="020B0502040204020203" pitchFamily="34" charset="0"/>
              </a:rPr>
              <a:t>0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7F32F4B-2D5F-4131-A7E2-3BE301AC59F0}"/>
              </a:ext>
            </a:extLst>
          </p:cNvPr>
          <p:cNvSpPr txBox="1"/>
          <p:nvPr/>
        </p:nvSpPr>
        <p:spPr>
          <a:xfrm>
            <a:off x="793525" y="3922964"/>
            <a:ext cx="91771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latin typeface="Bahnschrift SemiLight Condensed" panose="020B0502040204020203" pitchFamily="34" charset="0"/>
              </a:rPr>
              <a:t>03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FA60E35-14A7-4478-87FF-8C992D48A033}"/>
              </a:ext>
            </a:extLst>
          </p:cNvPr>
          <p:cNvSpPr txBox="1"/>
          <p:nvPr/>
        </p:nvSpPr>
        <p:spPr>
          <a:xfrm>
            <a:off x="793525" y="5246403"/>
            <a:ext cx="91771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latin typeface="Bahnschrift SemiLight Condensed" panose="020B0502040204020203" pitchFamily="34" charset="0"/>
              </a:rPr>
              <a:t>04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8EE1D9A-5081-4C50-8602-06CA7D17C2F3}"/>
              </a:ext>
            </a:extLst>
          </p:cNvPr>
          <p:cNvSpPr txBox="1"/>
          <p:nvPr/>
        </p:nvSpPr>
        <p:spPr>
          <a:xfrm>
            <a:off x="1949634" y="1632758"/>
            <a:ext cx="5670787" cy="4562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>
                <a:latin typeface="ITC Avant Garde Pro Bk" panose="020B0502020202020204" pitchFamily="34" charset="0"/>
              </a:rPr>
              <a:t>Compare forecasting with the actual data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8DEA56B-9CDA-46CD-B577-FB77CDE8B20A}"/>
              </a:ext>
            </a:extLst>
          </p:cNvPr>
          <p:cNvSpPr txBox="1"/>
          <p:nvPr/>
        </p:nvSpPr>
        <p:spPr>
          <a:xfrm>
            <a:off x="1900603" y="2961162"/>
            <a:ext cx="609382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ITC Avant Garde Pro Bk" panose="020B0502020202020204" pitchFamily="34" charset="0"/>
              </a:rPr>
              <a:t>Test new categorization and listing</a:t>
            </a:r>
            <a:endParaRPr lang="en-US" sz="1800" dirty="0">
              <a:latin typeface="ITC Avant Garde Pro Bk" panose="020B0502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767D26A-1494-4E84-BFA0-B761669BE381}"/>
              </a:ext>
            </a:extLst>
          </p:cNvPr>
          <p:cNvSpPr txBox="1"/>
          <p:nvPr/>
        </p:nvSpPr>
        <p:spPr>
          <a:xfrm>
            <a:off x="1949633" y="4305877"/>
            <a:ext cx="609382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ITC Avant Garde Pro Bk" panose="020B0502020202020204" pitchFamily="34" charset="0"/>
              </a:rPr>
              <a:t>Create effective design of mobile app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C3EBC77-43D7-436A-A7BF-DA99EAE8F7DD}"/>
              </a:ext>
            </a:extLst>
          </p:cNvPr>
          <p:cNvSpPr txBox="1"/>
          <p:nvPr/>
        </p:nvSpPr>
        <p:spPr>
          <a:xfrm>
            <a:off x="1900603" y="5547398"/>
            <a:ext cx="609382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ITC Avant Garde Pro Bk" panose="020B0502020202020204" pitchFamily="34" charset="0"/>
              </a:rPr>
              <a:t>Omnichannel customer experience </a:t>
            </a:r>
          </a:p>
        </p:txBody>
      </p:sp>
      <p:pic>
        <p:nvPicPr>
          <p:cNvPr id="19" name="Picture 18" descr="A group of people sitting at tables&#10;&#10;Description automatically generated with low confidence">
            <a:extLst>
              <a:ext uri="{FF2B5EF4-FFF2-40B4-BE49-F238E27FC236}">
                <a16:creationId xmlns:a16="http://schemas.microsoft.com/office/drawing/2014/main" id="{874234F8-53E9-4030-89C6-63590DBF786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00" y="0"/>
            <a:ext cx="457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010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  <p:bldP spid="10" grpId="0"/>
      <p:bldP spid="11" grpId="0"/>
      <p:bldP spid="12" grpId="0"/>
      <p:bldP spid="13" grpId="0"/>
      <p:bldP spid="14" grpId="0"/>
      <p:bldP spid="15" grpId="0"/>
      <p:bldP spid="16" grpId="0"/>
      <p:bldP spid="17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351B950-6087-40E2-825A-A8F8AB44A3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28603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351B950-6087-40E2-825A-A8F8AB44A3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85FE92-6B2C-46B1-9FAA-56678CEC38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44682" y="3974898"/>
            <a:ext cx="5799662" cy="1503324"/>
          </a:xfrm>
        </p:spPr>
        <p:txBody>
          <a:bodyPr>
            <a:normAutofit fontScale="92500"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en-US" sz="2000" dirty="0">
                <a:latin typeface="ITC Avant Garde Pro Bk" panose="020B0502020202020204" pitchFamily="34" charset="0"/>
              </a:rPr>
              <a:t>Assortment improvement of a major retail chain for newly launched e-commerce platform using Data Analytics tools and techniqu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99C3899-2AE6-4C36-A892-2AB006583F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6D2641-81B4-4FA9-AABA-CD0BE301EB4F}" type="slidenum">
              <a:rPr lang="en-US" smtClean="0"/>
              <a:t>5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BFD7B9A-763B-4817-943C-08D01FD8F34A}"/>
              </a:ext>
            </a:extLst>
          </p:cNvPr>
          <p:cNvSpPr txBox="1"/>
          <p:nvPr/>
        </p:nvSpPr>
        <p:spPr>
          <a:xfrm>
            <a:off x="583682" y="556502"/>
            <a:ext cx="10378502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ITC Avant Garde Pro Md" panose="020B0602020202020204" pitchFamily="34" charset="0"/>
              </a:rPr>
              <a:t>About the project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9BAEAE6-3875-42CB-8416-D74C44213244}"/>
              </a:ext>
            </a:extLst>
          </p:cNvPr>
          <p:cNvCxnSpPr>
            <a:cxnSpLocks/>
          </p:cNvCxnSpPr>
          <p:nvPr/>
        </p:nvCxnSpPr>
        <p:spPr>
          <a:xfrm>
            <a:off x="688185" y="1082000"/>
            <a:ext cx="6312656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phic 12">
            <a:extLst>
              <a:ext uri="{FF2B5EF4-FFF2-40B4-BE49-F238E27FC236}">
                <a16:creationId xmlns:a16="http://schemas.microsoft.com/office/drawing/2014/main" id="{6A6C6C87-5E5D-45B1-97B6-54887D60283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092850" y="2095492"/>
            <a:ext cx="1503325" cy="1503325"/>
          </a:xfrm>
          <a:prstGeom prst="rect">
            <a:avLst/>
          </a:prstGeom>
        </p:spPr>
      </p:pic>
      <p:pic>
        <p:nvPicPr>
          <p:cNvPr id="15" name="Picture 14" descr="A picture containing text, marketplace, scene, store&#10;&#10;Description automatically generated">
            <a:extLst>
              <a:ext uri="{FF2B5EF4-FFF2-40B4-BE49-F238E27FC236}">
                <a16:creationId xmlns:a16="http://schemas.microsoft.com/office/drawing/2014/main" id="{3E0E1D2D-A8B0-42F6-9AE8-E01F821604CC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66" r="41965"/>
          <a:stretch/>
        </p:blipFill>
        <p:spPr>
          <a:xfrm>
            <a:off x="7525017" y="0"/>
            <a:ext cx="466698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39813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CB947FD-7547-46B3-B986-A1093FC0D42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CB947FD-7547-46B3-B986-A1093FC0D4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24089C08-8E8A-4CB5-B840-11BDAED137E0}"/>
              </a:ext>
            </a:extLst>
          </p:cNvPr>
          <p:cNvSpPr txBox="1"/>
          <p:nvPr/>
        </p:nvSpPr>
        <p:spPr>
          <a:xfrm>
            <a:off x="688185" y="556502"/>
            <a:ext cx="8782386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400">
                <a:latin typeface="ITC Avant Garde Pro Md" panose="020B0602020202020204" pitchFamily="34" charset="0"/>
              </a:rPr>
              <a:t>Lessons learned</a:t>
            </a:r>
            <a:endParaRPr lang="en-US" sz="2400" dirty="0">
              <a:latin typeface="ITC Avant Garde Pro Md" panose="020B060202020202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29F9172-829C-4FEC-941D-F7A4D085A5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6D2641-81B4-4FA9-AABA-CD0BE301EB4F}" type="slidenum">
              <a:rPr lang="en-US" smtClean="0"/>
              <a:t>50</a:t>
            </a:fld>
            <a:endParaRPr lang="en-US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0D7D7EF6-2F59-4160-8723-0028DE366CDB}"/>
              </a:ext>
            </a:extLst>
          </p:cNvPr>
          <p:cNvCxnSpPr>
            <a:cxnSpLocks/>
          </p:cNvCxnSpPr>
          <p:nvPr/>
        </p:nvCxnSpPr>
        <p:spPr>
          <a:xfrm>
            <a:off x="688185" y="1082000"/>
            <a:ext cx="6143689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5C52F2D4-CD05-459B-BF4E-A4B4445B4816}"/>
              </a:ext>
            </a:extLst>
          </p:cNvPr>
          <p:cNvSpPr/>
          <p:nvPr/>
        </p:nvSpPr>
        <p:spPr>
          <a:xfrm>
            <a:off x="734830" y="5250792"/>
            <a:ext cx="1045029" cy="9625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4F30F2D-7CB1-48F7-9DE3-CABF472066AB}"/>
              </a:ext>
            </a:extLst>
          </p:cNvPr>
          <p:cNvSpPr/>
          <p:nvPr/>
        </p:nvSpPr>
        <p:spPr>
          <a:xfrm>
            <a:off x="734830" y="4009271"/>
            <a:ext cx="1045029" cy="9625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01D22AA-21AE-460A-8C2F-E39A0793A42B}"/>
              </a:ext>
            </a:extLst>
          </p:cNvPr>
          <p:cNvSpPr/>
          <p:nvPr/>
        </p:nvSpPr>
        <p:spPr>
          <a:xfrm>
            <a:off x="734830" y="2675850"/>
            <a:ext cx="1045029" cy="9625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3E16E6B-88CE-4C37-B140-88EDD28130F4}"/>
              </a:ext>
            </a:extLst>
          </p:cNvPr>
          <p:cNvSpPr/>
          <p:nvPr/>
        </p:nvSpPr>
        <p:spPr>
          <a:xfrm>
            <a:off x="734830" y="1411072"/>
            <a:ext cx="1045029" cy="9625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42DC6CC-0AA0-4F12-BB40-1B940BA9828B}"/>
              </a:ext>
            </a:extLst>
          </p:cNvPr>
          <p:cNvSpPr txBox="1"/>
          <p:nvPr/>
        </p:nvSpPr>
        <p:spPr>
          <a:xfrm>
            <a:off x="816365" y="1347238"/>
            <a:ext cx="78708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latin typeface="Bahnschrift SemiLight Condensed" panose="020B0502040204020203" pitchFamily="34" charset="0"/>
              </a:rPr>
              <a:t>01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7C6CE0F-2DDA-4606-92E4-1455307205A9}"/>
              </a:ext>
            </a:extLst>
          </p:cNvPr>
          <p:cNvSpPr txBox="1"/>
          <p:nvPr/>
        </p:nvSpPr>
        <p:spPr>
          <a:xfrm>
            <a:off x="793525" y="2599525"/>
            <a:ext cx="91771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latin typeface="Bahnschrift SemiLight Condensed" panose="020B0502040204020203" pitchFamily="34" charset="0"/>
              </a:rPr>
              <a:t>0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7F32F4B-2D5F-4131-A7E2-3BE301AC59F0}"/>
              </a:ext>
            </a:extLst>
          </p:cNvPr>
          <p:cNvSpPr txBox="1"/>
          <p:nvPr/>
        </p:nvSpPr>
        <p:spPr>
          <a:xfrm>
            <a:off x="793525" y="3922964"/>
            <a:ext cx="91771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latin typeface="Bahnschrift SemiLight Condensed" panose="020B0502040204020203" pitchFamily="34" charset="0"/>
              </a:rPr>
              <a:t>03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FA60E35-14A7-4478-87FF-8C992D48A033}"/>
              </a:ext>
            </a:extLst>
          </p:cNvPr>
          <p:cNvSpPr txBox="1"/>
          <p:nvPr/>
        </p:nvSpPr>
        <p:spPr>
          <a:xfrm>
            <a:off x="793525" y="5246403"/>
            <a:ext cx="91771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latin typeface="Bahnschrift SemiLight Condensed" panose="020B0502040204020203" pitchFamily="34" charset="0"/>
              </a:rPr>
              <a:t>04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8EE1D9A-5081-4C50-8602-06CA7D17C2F3}"/>
              </a:ext>
            </a:extLst>
          </p:cNvPr>
          <p:cNvSpPr txBox="1"/>
          <p:nvPr/>
        </p:nvSpPr>
        <p:spPr>
          <a:xfrm>
            <a:off x="1949634" y="1454499"/>
            <a:ext cx="5104309" cy="8717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>
                <a:latin typeface="ITC Avant Garde Pro Bk" panose="020B0502020202020204" pitchFamily="34" charset="0"/>
              </a:rPr>
              <a:t>Preprocess, analyze, and draw an inference from the big data set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8DEA56B-9CDA-46CD-B577-FB77CDE8B20A}"/>
              </a:ext>
            </a:extLst>
          </p:cNvPr>
          <p:cNvSpPr txBox="1"/>
          <p:nvPr/>
        </p:nvSpPr>
        <p:spPr>
          <a:xfrm>
            <a:off x="1900603" y="2961162"/>
            <a:ext cx="609382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ITC Avant Garde Pro Bk" panose="020B0502020202020204" pitchFamily="34" charset="0"/>
              </a:rPr>
              <a:t>Visualized data by using advanced tools</a:t>
            </a:r>
            <a:endParaRPr lang="en-US" sz="1800" dirty="0">
              <a:latin typeface="ITC Avant Garde Pro Bk" panose="020B0502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767D26A-1494-4E84-BFA0-B761669BE381}"/>
              </a:ext>
            </a:extLst>
          </p:cNvPr>
          <p:cNvSpPr txBox="1"/>
          <p:nvPr/>
        </p:nvSpPr>
        <p:spPr>
          <a:xfrm>
            <a:off x="1949633" y="4167377"/>
            <a:ext cx="488224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ITC Avant Garde Pro Bk" panose="020B0502020202020204" pitchFamily="34" charset="0"/>
              </a:rPr>
              <a:t>Gained a deep knowledge about the retail e-commerc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C3EBC77-43D7-436A-A7BF-DA99EAE8F7DD}"/>
              </a:ext>
            </a:extLst>
          </p:cNvPr>
          <p:cNvSpPr txBox="1"/>
          <p:nvPr/>
        </p:nvSpPr>
        <p:spPr>
          <a:xfrm>
            <a:off x="1900603" y="5403501"/>
            <a:ext cx="542766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ITC Avant Garde Pro Bk" panose="020B0502020202020204" pitchFamily="34" charset="0"/>
              </a:rPr>
              <a:t>Practiced assessment of mobile app ergonomics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3713A654-B814-4218-B481-431B0B24C25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4994" y="0"/>
            <a:ext cx="457700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34631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  <p:bldP spid="10" grpId="0"/>
      <p:bldP spid="11" grpId="0"/>
      <p:bldP spid="12" grpId="0"/>
      <p:bldP spid="13" grpId="0"/>
      <p:bldP spid="14" grpId="0"/>
      <p:bldP spid="15" grpId="0"/>
      <p:bldP spid="16" grpId="0"/>
      <p:bldP spid="17" grpId="0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CB947FD-7547-46B3-B986-A1093FC0D42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CB947FD-7547-46B3-B986-A1093FC0D4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24089C08-8E8A-4CB5-B840-11BDAED137E0}"/>
              </a:ext>
            </a:extLst>
          </p:cNvPr>
          <p:cNvSpPr txBox="1"/>
          <p:nvPr/>
        </p:nvSpPr>
        <p:spPr>
          <a:xfrm>
            <a:off x="1704807" y="2921168"/>
            <a:ext cx="8782386" cy="101566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6000" dirty="0">
                <a:latin typeface="ITC Avant Garde Pro Md" panose="020B0602020202020204" pitchFamily="34" charset="0"/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1093756738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CB947FD-7547-46B3-B986-A1093FC0D42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CB947FD-7547-46B3-B986-A1093FC0D4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24089C08-8E8A-4CB5-B840-11BDAED137E0}"/>
              </a:ext>
            </a:extLst>
          </p:cNvPr>
          <p:cNvSpPr txBox="1"/>
          <p:nvPr/>
        </p:nvSpPr>
        <p:spPr>
          <a:xfrm>
            <a:off x="688185" y="556502"/>
            <a:ext cx="8782386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ITC Avant Garde Pro Md" panose="020B0602020202020204" pitchFamily="34" charset="0"/>
              </a:rPr>
              <a:t>Reference lis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29F9172-829C-4FEC-941D-F7A4D085A5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6D2641-81B4-4FA9-AABA-CD0BE301EB4F}" type="slidenum">
              <a:rPr lang="en-US" smtClean="0"/>
              <a:t>52</a:t>
            </a:fld>
            <a:endParaRPr lang="en-US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0D7D7EF6-2F59-4160-8723-0028DE366CDB}"/>
              </a:ext>
            </a:extLst>
          </p:cNvPr>
          <p:cNvCxnSpPr>
            <a:cxnSpLocks/>
          </p:cNvCxnSpPr>
          <p:nvPr/>
        </p:nvCxnSpPr>
        <p:spPr>
          <a:xfrm>
            <a:off x="688185" y="1082000"/>
            <a:ext cx="1066561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58F95173-90A0-48C6-A1EB-A345373FC59B}"/>
              </a:ext>
            </a:extLst>
          </p:cNvPr>
          <p:cNvSpPr txBox="1"/>
          <p:nvPr/>
        </p:nvSpPr>
        <p:spPr>
          <a:xfrm>
            <a:off x="688185" y="1145834"/>
            <a:ext cx="10665615" cy="56510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1100" dirty="0" err="1">
                <a:latin typeface="ITC Avant Garde Pro Bk" panose="020B0502020202020204" pitchFamily="34" charset="0"/>
              </a:rPr>
              <a:t>Akter</a:t>
            </a:r>
            <a:r>
              <a:rPr lang="en-GB" sz="1100" dirty="0">
                <a:latin typeface="ITC Avant Garde Pro Bk" panose="020B0502020202020204" pitchFamily="34" charset="0"/>
              </a:rPr>
              <a:t>, S. and Wamba, S. F. (2016). Big data analytics in E-commerce: a systematic review and agenda for future research. </a:t>
            </a:r>
            <a:r>
              <a:rPr lang="en-GB" sz="1100" i="1" dirty="0">
                <a:latin typeface="ITC Avant Garde Pro Bk" panose="020B0502020202020204" pitchFamily="34" charset="0"/>
              </a:rPr>
              <a:t>Electronic Markets</a:t>
            </a:r>
            <a:r>
              <a:rPr lang="en-GB" sz="1100" dirty="0">
                <a:latin typeface="ITC Avant Garde Pro Bk" panose="020B0502020202020204" pitchFamily="34" charset="0"/>
              </a:rPr>
              <a:t>, </a:t>
            </a:r>
            <a:r>
              <a:rPr lang="en-GB" sz="1100" i="1" dirty="0">
                <a:latin typeface="ITC Avant Garde Pro Bk" panose="020B0502020202020204" pitchFamily="34" charset="0"/>
              </a:rPr>
              <a:t>26</a:t>
            </a:r>
            <a:r>
              <a:rPr lang="en-GB" sz="1100" dirty="0">
                <a:latin typeface="ITC Avant Garde Pro Bk" panose="020B0502020202020204" pitchFamily="34" charset="0"/>
              </a:rPr>
              <a:t>(2), 173-194.</a:t>
            </a:r>
            <a:endParaRPr lang="ru-RU" sz="11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1100" dirty="0">
                <a:latin typeface="ITC Avant Garde Pro Bk" panose="020B0502020202020204" pitchFamily="34" charset="0"/>
              </a:rPr>
              <a:t>Arora A., </a:t>
            </a:r>
            <a:r>
              <a:rPr lang="en-GB" sz="1100" dirty="0" err="1">
                <a:latin typeface="ITC Avant Garde Pro Bk" panose="020B0502020202020204" pitchFamily="34" charset="0"/>
              </a:rPr>
              <a:t>Boudet</a:t>
            </a:r>
            <a:r>
              <a:rPr lang="en-GB" sz="1100" dirty="0">
                <a:latin typeface="ITC Avant Garde Pro Bk" panose="020B0502020202020204" pitchFamily="34" charset="0"/>
              </a:rPr>
              <a:t> J., </a:t>
            </a:r>
            <a:r>
              <a:rPr lang="en-GB" sz="1100" dirty="0" err="1">
                <a:latin typeface="ITC Avant Garde Pro Bk" panose="020B0502020202020204" pitchFamily="34" charset="0"/>
              </a:rPr>
              <a:t>Bucy</a:t>
            </a:r>
            <a:r>
              <a:rPr lang="en-GB" sz="1100" dirty="0">
                <a:latin typeface="ITC Avant Garde Pro Bk" panose="020B0502020202020204" pitchFamily="34" charset="0"/>
              </a:rPr>
              <a:t> M., Khan H., </a:t>
            </a:r>
            <a:r>
              <a:rPr lang="en-GB" sz="1100" dirty="0" err="1">
                <a:latin typeface="ITC Avant Garde Pro Bk" panose="020B0502020202020204" pitchFamily="34" charset="0"/>
              </a:rPr>
              <a:t>Montilla</a:t>
            </a:r>
            <a:r>
              <a:rPr lang="en-GB" sz="1100" dirty="0">
                <a:latin typeface="ITC Avant Garde Pro Bk" panose="020B0502020202020204" pitchFamily="34" charset="0"/>
              </a:rPr>
              <a:t> R., </a:t>
            </a:r>
            <a:r>
              <a:rPr lang="en-GB" sz="1100" dirty="0" err="1">
                <a:latin typeface="ITC Avant Garde Pro Bk" panose="020B0502020202020204" pitchFamily="34" charset="0"/>
              </a:rPr>
              <a:t>Smaje</a:t>
            </a:r>
            <a:r>
              <a:rPr lang="en-GB" sz="1100" dirty="0">
                <a:latin typeface="ITC Avant Garde Pro Bk" panose="020B0502020202020204" pitchFamily="34" charset="0"/>
              </a:rPr>
              <a:t> K. (2020). Think Fast: How to accelerate e-commerce growth. </a:t>
            </a:r>
            <a:r>
              <a:rPr lang="en-GB" sz="1100" i="1" dirty="0">
                <a:latin typeface="ITC Avant Garde Pro Bk" panose="020B0502020202020204" pitchFamily="34" charset="0"/>
              </a:rPr>
              <a:t>McKinsey Digital</a:t>
            </a:r>
            <a:r>
              <a:rPr lang="en-GB" sz="1100" dirty="0">
                <a:latin typeface="ITC Avant Garde Pro Bk" panose="020B0502020202020204" pitchFamily="34" charset="0"/>
              </a:rPr>
              <a:t>. </a:t>
            </a:r>
            <a:r>
              <a:rPr lang="en-GB" sz="1100" u="sng" dirty="0">
                <a:latin typeface="ITC Avant Garde Pro Bk" panose="020B0502020202020204" pitchFamily="34" charset="0"/>
              </a:rPr>
              <a:t>[online] Available </a:t>
            </a:r>
            <a:r>
              <a:rPr lang="en-GB" sz="1100" dirty="0" err="1">
                <a:latin typeface="ITC Avant Garde Pro Bk" panose="020B0502020202020204" pitchFamily="34" charset="0"/>
              </a:rPr>
              <a:t>at:</a:t>
            </a:r>
            <a:r>
              <a:rPr lang="en-GB" sz="1100" u="sng" dirty="0" err="1">
                <a:latin typeface="ITC Avant Garde Pro Bk" panose="020B0502020202020204" pitchFamily="34" charset="0"/>
                <a:hlinkClick r:id="rId5"/>
              </a:rPr>
              <a:t>https</a:t>
            </a:r>
            <a:r>
              <a:rPr lang="en-GB" sz="1100" u="sng" dirty="0">
                <a:latin typeface="ITC Avant Garde Pro Bk" panose="020B0502020202020204" pitchFamily="34" charset="0"/>
                <a:hlinkClick r:id="rId5"/>
              </a:rPr>
              <a:t>://www.mckinsey.com/business-functions/mckinsey-digital/our-insights/think-fast-how-to-accelerate-e-commerce-growth#</a:t>
            </a:r>
            <a:r>
              <a:rPr lang="en-GB" sz="1100" dirty="0">
                <a:latin typeface="ITC Avant Garde Pro Bk" panose="020B0502020202020204" pitchFamily="34" charset="0"/>
              </a:rPr>
              <a:t> [Accessed 27 Feb. 2021]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1100" dirty="0" err="1">
                <a:latin typeface="ITC Avant Garde Pro Bk" panose="020B0502020202020204" pitchFamily="34" charset="0"/>
              </a:rPr>
              <a:t>Besbes</a:t>
            </a:r>
            <a:r>
              <a:rPr lang="en-GB" sz="1100" dirty="0">
                <a:latin typeface="ITC Avant Garde Pro Bk" panose="020B0502020202020204" pitchFamily="34" charset="0"/>
              </a:rPr>
              <a:t>, O. and </a:t>
            </a:r>
            <a:r>
              <a:rPr lang="en-GB" sz="1100" dirty="0" err="1">
                <a:latin typeface="ITC Avant Garde Pro Bk" panose="020B0502020202020204" pitchFamily="34" charset="0"/>
              </a:rPr>
              <a:t>Sauré</a:t>
            </a:r>
            <a:r>
              <a:rPr lang="en-GB" sz="1100" dirty="0">
                <a:latin typeface="ITC Avant Garde Pro Bk" panose="020B0502020202020204" pitchFamily="34" charset="0"/>
              </a:rPr>
              <a:t>, D., 2016.  Product assortment and price competition under multinomial logit demand. </a:t>
            </a:r>
            <a:r>
              <a:rPr lang="en-GB" sz="1100" i="1" dirty="0">
                <a:latin typeface="ITC Avant Garde Pro Bk" panose="020B0502020202020204" pitchFamily="34" charset="0"/>
              </a:rPr>
              <a:t>Production and Operations Management, 25(1),</a:t>
            </a:r>
            <a:r>
              <a:rPr lang="en-GB" sz="1100" dirty="0">
                <a:latin typeface="ITC Avant Garde Pro Bk" panose="020B0502020202020204" pitchFamily="34" charset="0"/>
              </a:rPr>
              <a:t> pp.114-127.</a:t>
            </a:r>
            <a:endParaRPr lang="ru-RU" sz="11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1100" dirty="0">
                <a:latin typeface="ITC Avant Garde Pro Bk" panose="020B0502020202020204" pitchFamily="34" charset="0"/>
              </a:rPr>
              <a:t>He, Y., Guo, X. and Chen, G., 2019. Assortment Size and Performance of Online Sellers: An Inverted U-Shaped Relationship. </a:t>
            </a:r>
            <a:r>
              <a:rPr lang="en-GB" sz="1100" i="1" dirty="0">
                <a:latin typeface="ITC Avant Garde Pro Bk" panose="020B0502020202020204" pitchFamily="34" charset="0"/>
              </a:rPr>
              <a:t>Journal of the Association for Information Systems</a:t>
            </a:r>
            <a:r>
              <a:rPr lang="en-GB" sz="1100" dirty="0">
                <a:latin typeface="ITC Avant Garde Pro Bk" panose="020B0502020202020204" pitchFamily="34" charset="0"/>
              </a:rPr>
              <a:t>, </a:t>
            </a:r>
            <a:r>
              <a:rPr lang="en-GB" sz="1100" i="1" dirty="0">
                <a:latin typeface="ITC Avant Garde Pro Bk" panose="020B0502020202020204" pitchFamily="34" charset="0"/>
              </a:rPr>
              <a:t>20</a:t>
            </a:r>
            <a:r>
              <a:rPr lang="en-GB" sz="1100" dirty="0">
                <a:latin typeface="ITC Avant Garde Pro Bk" panose="020B0502020202020204" pitchFamily="34" charset="0"/>
              </a:rPr>
              <a:t>(10), p.2.</a:t>
            </a:r>
            <a:endParaRPr lang="ru-RU" sz="11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1100" dirty="0" err="1">
                <a:latin typeface="ITC Avant Garde Pro Bk" panose="020B0502020202020204" pitchFamily="34" charset="0"/>
              </a:rPr>
              <a:t>Heese</a:t>
            </a:r>
            <a:r>
              <a:rPr lang="en-GB" sz="1100" dirty="0">
                <a:latin typeface="ITC Avant Garde Pro Bk" panose="020B0502020202020204" pitchFamily="34" charset="0"/>
              </a:rPr>
              <a:t>, H.S. and Martínez-de-</a:t>
            </a:r>
            <a:r>
              <a:rPr lang="en-GB" sz="1100" dirty="0" err="1">
                <a:latin typeface="ITC Avant Garde Pro Bk" panose="020B0502020202020204" pitchFamily="34" charset="0"/>
              </a:rPr>
              <a:t>Albéniz</a:t>
            </a:r>
            <a:r>
              <a:rPr lang="en-GB" sz="1100" dirty="0">
                <a:latin typeface="ITC Avant Garde Pro Bk" panose="020B0502020202020204" pitchFamily="34" charset="0"/>
              </a:rPr>
              <a:t>, V., 2018. Effects of assortment breadth announcements on manufacturer competition. </a:t>
            </a:r>
            <a:r>
              <a:rPr lang="en-GB" sz="1100" i="1" dirty="0">
                <a:latin typeface="ITC Avant Garde Pro Bk" panose="020B0502020202020204" pitchFamily="34" charset="0"/>
              </a:rPr>
              <a:t>Manufacturing &amp; Service Operations Management, 20(2),</a:t>
            </a:r>
            <a:r>
              <a:rPr lang="en-GB" sz="1100" dirty="0">
                <a:latin typeface="ITC Avant Garde Pro Bk" panose="020B0502020202020204" pitchFamily="34" charset="0"/>
              </a:rPr>
              <a:t> pp.302-316.</a:t>
            </a:r>
            <a:endParaRPr lang="ru-RU" sz="11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1100" dirty="0" err="1">
                <a:latin typeface="ITC Avant Garde Pro Bk" panose="020B0502020202020204" pitchFamily="34" charset="0"/>
              </a:rPr>
              <a:t>Holý</a:t>
            </a:r>
            <a:r>
              <a:rPr lang="en-GB" sz="1100" dirty="0">
                <a:latin typeface="ITC Avant Garde Pro Bk" panose="020B0502020202020204" pitchFamily="34" charset="0"/>
              </a:rPr>
              <a:t>, V., Sokol, O. and </a:t>
            </a:r>
            <a:r>
              <a:rPr lang="en-GB" sz="1100" dirty="0" err="1">
                <a:latin typeface="ITC Avant Garde Pro Bk" panose="020B0502020202020204" pitchFamily="34" charset="0"/>
              </a:rPr>
              <a:t>Černý</a:t>
            </a:r>
            <a:r>
              <a:rPr lang="en-GB" sz="1100" dirty="0">
                <a:latin typeface="ITC Avant Garde Pro Bk" panose="020B0502020202020204" pitchFamily="34" charset="0"/>
              </a:rPr>
              <a:t>, M., 2017. Clustering retail products based on customer behaviour. </a:t>
            </a:r>
            <a:r>
              <a:rPr lang="en-GB" sz="1100" i="1" dirty="0">
                <a:latin typeface="ITC Avant Garde Pro Bk" panose="020B0502020202020204" pitchFamily="34" charset="0"/>
              </a:rPr>
              <a:t>Applied Soft Computing, 60,</a:t>
            </a:r>
            <a:r>
              <a:rPr lang="en-GB" sz="1100" dirty="0">
                <a:latin typeface="ITC Avant Garde Pro Bk" panose="020B0502020202020204" pitchFamily="34" charset="0"/>
              </a:rPr>
              <a:t> pp.752-762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1100" dirty="0">
                <a:latin typeface="ITC Avant Garde Pro Bk" panose="020B0502020202020204" pitchFamily="34" charset="0"/>
              </a:rPr>
              <a:t>Le, T. M. and </a:t>
            </a:r>
            <a:r>
              <a:rPr lang="en-GB" sz="1100" dirty="0" err="1">
                <a:latin typeface="ITC Avant Garde Pro Bk" panose="020B0502020202020204" pitchFamily="34" charset="0"/>
              </a:rPr>
              <a:t>Liaw</a:t>
            </a:r>
            <a:r>
              <a:rPr lang="en-GB" sz="1100" dirty="0">
                <a:latin typeface="ITC Avant Garde Pro Bk" panose="020B0502020202020204" pitchFamily="34" charset="0"/>
              </a:rPr>
              <a:t>, S. Y. (2017). Effects of pros and cons of applying big data analytics to consumers’ responses in an e-commerce context. </a:t>
            </a:r>
            <a:r>
              <a:rPr lang="en-GB" sz="1100" i="1" dirty="0">
                <a:latin typeface="ITC Avant Garde Pro Bk" panose="020B0502020202020204" pitchFamily="34" charset="0"/>
              </a:rPr>
              <a:t>Sustainability</a:t>
            </a:r>
            <a:r>
              <a:rPr lang="en-GB" sz="1100" dirty="0">
                <a:latin typeface="ITC Avant Garde Pro Bk" panose="020B0502020202020204" pitchFamily="34" charset="0"/>
              </a:rPr>
              <a:t>, </a:t>
            </a:r>
            <a:r>
              <a:rPr lang="en-GB" sz="1100" i="1" dirty="0">
                <a:latin typeface="ITC Avant Garde Pro Bk" panose="020B0502020202020204" pitchFamily="34" charset="0"/>
              </a:rPr>
              <a:t>9</a:t>
            </a:r>
            <a:r>
              <a:rPr lang="en-GB" sz="1100" dirty="0">
                <a:latin typeface="ITC Avant Garde Pro Bk" panose="020B0502020202020204" pitchFamily="34" charset="0"/>
              </a:rPr>
              <a:t>(5), 798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1100" dirty="0">
                <a:latin typeface="ITC Avant Garde Pro Bk" panose="020B0502020202020204" pitchFamily="34" charset="0"/>
              </a:rPr>
              <a:t>Lin, Z., 2014. An empirical investigation of user and system recommendations in e-commerce. </a:t>
            </a:r>
            <a:r>
              <a:rPr lang="en-GB" sz="1100" i="1" dirty="0">
                <a:latin typeface="ITC Avant Garde Pro Bk" panose="020B0502020202020204" pitchFamily="34" charset="0"/>
              </a:rPr>
              <a:t>Decision Support Systems, 68,</a:t>
            </a:r>
            <a:r>
              <a:rPr lang="en-GB" sz="1100" dirty="0">
                <a:latin typeface="ITC Avant Garde Pro Bk" panose="020B0502020202020204" pitchFamily="34" charset="0"/>
              </a:rPr>
              <a:t> pp.111-124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1100" dirty="0" err="1">
                <a:latin typeface="ITC Avant Garde Pro Bk" panose="020B0502020202020204" pitchFamily="34" charset="0"/>
              </a:rPr>
              <a:t>Ristoski</a:t>
            </a:r>
            <a:r>
              <a:rPr lang="en-GB" sz="1100" dirty="0">
                <a:latin typeface="ITC Avant Garde Pro Bk" panose="020B0502020202020204" pitchFamily="34" charset="0"/>
              </a:rPr>
              <a:t>, P., </a:t>
            </a:r>
            <a:r>
              <a:rPr lang="en-GB" sz="1100" dirty="0" err="1">
                <a:latin typeface="ITC Avant Garde Pro Bk" panose="020B0502020202020204" pitchFamily="34" charset="0"/>
              </a:rPr>
              <a:t>Petrovski</a:t>
            </a:r>
            <a:r>
              <a:rPr lang="en-GB" sz="1100" dirty="0">
                <a:latin typeface="ITC Avant Garde Pro Bk" panose="020B0502020202020204" pitchFamily="34" charset="0"/>
              </a:rPr>
              <a:t>, P., Mika, P. and </a:t>
            </a:r>
            <a:r>
              <a:rPr lang="en-GB" sz="1100" dirty="0" err="1">
                <a:latin typeface="ITC Avant Garde Pro Bk" panose="020B0502020202020204" pitchFamily="34" charset="0"/>
              </a:rPr>
              <a:t>Paulheim</a:t>
            </a:r>
            <a:r>
              <a:rPr lang="en-GB" sz="1100" dirty="0">
                <a:latin typeface="ITC Avant Garde Pro Bk" panose="020B0502020202020204" pitchFamily="34" charset="0"/>
              </a:rPr>
              <a:t>, H., 2018. A machine learning approach for product matching and categorization. </a:t>
            </a:r>
            <a:r>
              <a:rPr lang="en-GB" sz="1100" i="1" dirty="0">
                <a:latin typeface="ITC Avant Garde Pro Bk" panose="020B0502020202020204" pitchFamily="34" charset="0"/>
              </a:rPr>
              <a:t>Semantic Web, 9(5),</a:t>
            </a:r>
            <a:r>
              <a:rPr lang="en-GB" sz="1100" dirty="0">
                <a:latin typeface="ITC Avant Garde Pro Bk" panose="020B0502020202020204" pitchFamily="34" charset="0"/>
              </a:rPr>
              <a:t> pp.707-728.</a:t>
            </a:r>
            <a:endParaRPr lang="ru-RU" sz="11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1100" dirty="0" err="1">
                <a:latin typeface="ITC Avant Garde Pro Bk" panose="020B0502020202020204" pitchFamily="34" charset="0"/>
              </a:rPr>
              <a:t>Shorrock</a:t>
            </a:r>
            <a:r>
              <a:rPr lang="en-GB" sz="1100" dirty="0">
                <a:latin typeface="ITC Avant Garde Pro Bk" panose="020B0502020202020204" pitchFamily="34" charset="0"/>
              </a:rPr>
              <a:t>, S.T., Williams, C.A., 2016. Human factors and ergonomics methods in practice: three fundamental constraints. </a:t>
            </a:r>
            <a:r>
              <a:rPr lang="en-GB" sz="1100" i="1" dirty="0" err="1">
                <a:latin typeface="ITC Avant Garde Pro Bk" panose="020B0502020202020204" pitchFamily="34" charset="0"/>
              </a:rPr>
              <a:t>Theor</a:t>
            </a:r>
            <a:r>
              <a:rPr lang="en-GB" sz="1100" i="1" dirty="0">
                <a:latin typeface="ITC Avant Garde Pro Bk" panose="020B0502020202020204" pitchFamily="34" charset="0"/>
              </a:rPr>
              <a:t>. Issues Ergon. Sci. 17,</a:t>
            </a:r>
            <a:r>
              <a:rPr lang="en-GB" sz="1100" dirty="0">
                <a:latin typeface="ITC Avant Garde Pro Bk" panose="020B0502020202020204" pitchFamily="34" charset="0"/>
              </a:rPr>
              <a:t> 468–482.</a:t>
            </a:r>
            <a:endParaRPr lang="ru-RU" sz="11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1100" dirty="0" err="1">
                <a:latin typeface="ITC Avant Garde Pro Bk" panose="020B0502020202020204" pitchFamily="34" charset="0"/>
              </a:rPr>
              <a:t>Stoyanov</a:t>
            </a:r>
            <a:r>
              <a:rPr lang="en-GB" sz="1100" dirty="0">
                <a:latin typeface="ITC Avant Garde Pro Bk" panose="020B0502020202020204" pitchFamily="34" charset="0"/>
              </a:rPr>
              <a:t>, S.R., Hides, L., Kavanagh, D.J., </a:t>
            </a:r>
            <a:r>
              <a:rPr lang="en-GB" sz="1100" dirty="0" err="1">
                <a:latin typeface="ITC Avant Garde Pro Bk" panose="020B0502020202020204" pitchFamily="34" charset="0"/>
              </a:rPr>
              <a:t>Zelenko</a:t>
            </a:r>
            <a:r>
              <a:rPr lang="en-GB" sz="1100" dirty="0">
                <a:latin typeface="ITC Avant Garde Pro Bk" panose="020B0502020202020204" pitchFamily="34" charset="0"/>
              </a:rPr>
              <a:t>, O., </a:t>
            </a:r>
            <a:r>
              <a:rPr lang="en-GB" sz="1100" dirty="0" err="1">
                <a:latin typeface="ITC Avant Garde Pro Bk" panose="020B0502020202020204" pitchFamily="34" charset="0"/>
              </a:rPr>
              <a:t>Tjondronegoro</a:t>
            </a:r>
            <a:r>
              <a:rPr lang="en-GB" sz="1100" dirty="0">
                <a:latin typeface="ITC Avant Garde Pro Bk" panose="020B0502020202020204" pitchFamily="34" charset="0"/>
              </a:rPr>
              <a:t>, D. and Mani, M., 2015. Mobile app rating scale: a new tool for assessing the quality of health mobile apps. </a:t>
            </a:r>
            <a:r>
              <a:rPr lang="en-GB" sz="1100" i="1" dirty="0">
                <a:latin typeface="ITC Avant Garde Pro Bk" panose="020B0502020202020204" pitchFamily="34" charset="0"/>
              </a:rPr>
              <a:t>JMIR mHealth and </a:t>
            </a:r>
            <a:r>
              <a:rPr lang="en-GB" sz="1100" i="1" dirty="0" err="1">
                <a:latin typeface="ITC Avant Garde Pro Bk" panose="020B0502020202020204" pitchFamily="34" charset="0"/>
              </a:rPr>
              <a:t>uHealth</a:t>
            </a:r>
            <a:r>
              <a:rPr lang="en-GB" sz="1100" dirty="0">
                <a:latin typeface="ITC Avant Garde Pro Bk" panose="020B0502020202020204" pitchFamily="34" charset="0"/>
              </a:rPr>
              <a:t>, </a:t>
            </a:r>
            <a:r>
              <a:rPr lang="en-GB" sz="1100" i="1" dirty="0">
                <a:latin typeface="ITC Avant Garde Pro Bk" panose="020B0502020202020204" pitchFamily="34" charset="0"/>
              </a:rPr>
              <a:t>3</a:t>
            </a:r>
            <a:r>
              <a:rPr lang="en-GB" sz="1100" dirty="0">
                <a:latin typeface="ITC Avant Garde Pro Bk" panose="020B0502020202020204" pitchFamily="34" charset="0"/>
              </a:rPr>
              <a:t>(1), p.e27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1100" dirty="0" err="1">
                <a:latin typeface="ITC Avant Garde Pro Bk" panose="020B0502020202020204" pitchFamily="34" charset="0"/>
              </a:rPr>
              <a:t>Sysoeva</a:t>
            </a:r>
            <a:r>
              <a:rPr lang="en-GB" sz="1100" dirty="0">
                <a:latin typeface="ITC Avant Garde Pro Bk" panose="020B0502020202020204" pitchFamily="34" charset="0"/>
              </a:rPr>
              <a:t>, S. and </a:t>
            </a:r>
            <a:r>
              <a:rPr lang="en-GB" sz="1100" dirty="0" err="1">
                <a:latin typeface="ITC Avant Garde Pro Bk" panose="020B0502020202020204" pitchFamily="34" charset="0"/>
              </a:rPr>
              <a:t>Buzukova</a:t>
            </a:r>
            <a:r>
              <a:rPr lang="en-GB" sz="1100" dirty="0">
                <a:latin typeface="ITC Avant Garde Pro Bk" panose="020B0502020202020204" pitchFamily="34" charset="0"/>
              </a:rPr>
              <a:t>, E., 2019. </a:t>
            </a:r>
            <a:r>
              <a:rPr lang="en-GB" sz="1100" i="1" dirty="0">
                <a:latin typeface="ITC Avant Garde Pro Bk" panose="020B0502020202020204" pitchFamily="34" charset="0"/>
              </a:rPr>
              <a:t>Category management. Assortment management in retail.</a:t>
            </a:r>
            <a:r>
              <a:rPr lang="en-GB" sz="1100" dirty="0">
                <a:latin typeface="ITC Avant Garde Pro Bk" panose="020B0502020202020204" pitchFamily="34" charset="0"/>
              </a:rPr>
              <a:t> 2nd ed. Saint Petersburg: </a:t>
            </a:r>
            <a:r>
              <a:rPr lang="en-GB" sz="1100" dirty="0" err="1">
                <a:latin typeface="ITC Avant Garde Pro Bk" panose="020B0502020202020204" pitchFamily="34" charset="0"/>
              </a:rPr>
              <a:t>Piter</a:t>
            </a:r>
            <a:r>
              <a:rPr lang="en-GB" sz="1100" dirty="0">
                <a:latin typeface="ITC Avant Garde Pro Bk" panose="020B0502020202020204" pitchFamily="34" charset="0"/>
              </a:rPr>
              <a:t>, pp.160-161.</a:t>
            </a:r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val="20272359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08DDC67-481A-421F-BCB7-D47DC22FED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08DDC67-481A-421F-BCB7-D47DC22FED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CF978E18-489B-479B-838C-AD60DC66AABF}"/>
              </a:ext>
            </a:extLst>
          </p:cNvPr>
          <p:cNvSpPr txBox="1"/>
          <p:nvPr/>
        </p:nvSpPr>
        <p:spPr>
          <a:xfrm>
            <a:off x="583682" y="556502"/>
            <a:ext cx="10378502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ITC Avant Garde Pro Md" panose="020B0602020202020204" pitchFamily="34" charset="0"/>
              </a:rPr>
              <a:t>Background information on e-commerce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BA578A5C-44A4-4AD9-8E0C-60AD48B1DA5D}"/>
              </a:ext>
            </a:extLst>
          </p:cNvPr>
          <p:cNvGrpSpPr/>
          <p:nvPr/>
        </p:nvGrpSpPr>
        <p:grpSpPr>
          <a:xfrm>
            <a:off x="2029231" y="2178710"/>
            <a:ext cx="3822527" cy="3047657"/>
            <a:chOff x="2029231" y="2178710"/>
            <a:chExt cx="3822527" cy="3047657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9CE44D55-7A1D-4522-AD6D-81B2CF7EB878}"/>
                </a:ext>
              </a:extLst>
            </p:cNvPr>
            <p:cNvSpPr/>
            <p:nvPr/>
          </p:nvSpPr>
          <p:spPr>
            <a:xfrm>
              <a:off x="2029231" y="3765756"/>
              <a:ext cx="2399078" cy="56450"/>
            </a:xfrm>
            <a:prstGeom prst="rect">
              <a:avLst/>
            </a:prstGeom>
            <a:solidFill>
              <a:srgbClr val="1B26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E040345E-0DD7-4E1B-A6C0-64FDFA3D91E6}"/>
                </a:ext>
              </a:extLst>
            </p:cNvPr>
            <p:cNvSpPr/>
            <p:nvPr/>
          </p:nvSpPr>
          <p:spPr>
            <a:xfrm>
              <a:off x="4192358" y="3416325"/>
              <a:ext cx="698863" cy="698863"/>
            </a:xfrm>
            <a:prstGeom prst="ellipse">
              <a:avLst/>
            </a:prstGeom>
            <a:solidFill>
              <a:srgbClr val="1B26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30D4A818-B711-4DF9-8848-CCA32917F971}"/>
                </a:ext>
              </a:extLst>
            </p:cNvPr>
            <p:cNvSpPr txBox="1"/>
            <p:nvPr/>
          </p:nvSpPr>
          <p:spPr>
            <a:xfrm>
              <a:off x="4210343" y="3527230"/>
              <a:ext cx="698863" cy="4770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500" dirty="0">
                  <a:solidFill>
                    <a:schemeClr val="bg1"/>
                  </a:solidFill>
                  <a:latin typeface="Bahnschrift SemiLight Condensed" panose="020B0502040204020203" pitchFamily="34" charset="0"/>
                </a:rPr>
                <a:t>2019</a:t>
              </a:r>
              <a:endParaRPr lang="en-US" sz="2500" dirty="0">
                <a:solidFill>
                  <a:schemeClr val="bg1"/>
                </a:solidFill>
                <a:latin typeface="Bahnschrift SemiLight Condensed" panose="020B0502040204020203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5285E8A-2525-4846-BFB8-E5F1B2CBC26A}"/>
                </a:ext>
              </a:extLst>
            </p:cNvPr>
            <p:cNvSpPr txBox="1"/>
            <p:nvPr/>
          </p:nvSpPr>
          <p:spPr>
            <a:xfrm>
              <a:off x="3126543" y="4226093"/>
              <a:ext cx="2725215" cy="10002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>
                  <a:latin typeface="ITC Avant Garde Pro Md" panose="020B0602020202020204" pitchFamily="34" charset="0"/>
                </a:rPr>
                <a:t>The burgeoning of online Fast Moving Consumer Goods (FMCG)</a:t>
              </a:r>
            </a:p>
            <a:p>
              <a:pPr algn="ctr"/>
              <a:r>
                <a:rPr lang="es-ES" sz="1100" dirty="0">
                  <a:solidFill>
                    <a:schemeClr val="bg2">
                      <a:lumMod val="50000"/>
                    </a:schemeClr>
                  </a:solidFill>
                  <a:latin typeface="ITC Avant Garde Pro Bk" panose="020B0502020202020204" pitchFamily="34" charset="0"/>
                </a:rPr>
                <a:t>(</a:t>
              </a:r>
              <a:r>
                <a:rPr lang="es-ES" sz="1100" dirty="0" err="1">
                  <a:solidFill>
                    <a:schemeClr val="bg2">
                      <a:lumMod val="50000"/>
                    </a:schemeClr>
                  </a:solidFill>
                  <a:latin typeface="ITC Avant Garde Pro Bk" panose="020B0502020202020204" pitchFamily="34" charset="0"/>
                </a:rPr>
                <a:t>Dillahunt</a:t>
              </a:r>
              <a:r>
                <a:rPr lang="es-ES" sz="1100" dirty="0">
                  <a:solidFill>
                    <a:schemeClr val="bg2">
                      <a:lumMod val="50000"/>
                    </a:schemeClr>
                  </a:solidFill>
                  <a:latin typeface="ITC Avant Garde Pro Bk" panose="020B0502020202020204" pitchFamily="34" charset="0"/>
                </a:rPr>
                <a:t> et al., 2019). </a:t>
              </a:r>
              <a:endParaRPr lang="en-US" sz="1100" dirty="0">
                <a:solidFill>
                  <a:schemeClr val="bg2">
                    <a:lumMod val="50000"/>
                  </a:schemeClr>
                </a:solidFill>
                <a:latin typeface="ITC Avant Garde Pro Bk" panose="020B0502020202020204" pitchFamily="34" charset="0"/>
              </a:endParaRPr>
            </a:p>
          </p:txBody>
        </p:sp>
        <p:pic>
          <p:nvPicPr>
            <p:cNvPr id="23" name="Graphic 22">
              <a:extLst>
                <a:ext uri="{FF2B5EF4-FFF2-40B4-BE49-F238E27FC236}">
                  <a16:creationId xmlns:a16="http://schemas.microsoft.com/office/drawing/2014/main" id="{2C46314E-DC64-44DA-8946-D0CAF7652C1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088814" y="2178710"/>
              <a:ext cx="905950" cy="905950"/>
            </a:xfrm>
            <a:prstGeom prst="rect">
              <a:avLst/>
            </a:prstGeom>
          </p:spPr>
        </p:pic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6B299971-CDC2-4DA5-9DBA-98E27D6F6F7D}"/>
              </a:ext>
            </a:extLst>
          </p:cNvPr>
          <p:cNvGrpSpPr/>
          <p:nvPr/>
        </p:nvGrpSpPr>
        <p:grpSpPr>
          <a:xfrm>
            <a:off x="770705" y="2223622"/>
            <a:ext cx="2076997" cy="2969723"/>
            <a:chOff x="770705" y="2223622"/>
            <a:chExt cx="2076997" cy="2969723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A143A937-FF9D-4D88-85A0-2E4EA0BED062}"/>
                </a:ext>
              </a:extLst>
            </p:cNvPr>
            <p:cNvSpPr/>
            <p:nvPr/>
          </p:nvSpPr>
          <p:spPr>
            <a:xfrm>
              <a:off x="1459773" y="3416325"/>
              <a:ext cx="698863" cy="698863"/>
            </a:xfrm>
            <a:prstGeom prst="ellipse">
              <a:avLst/>
            </a:prstGeom>
            <a:solidFill>
              <a:srgbClr val="1B26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AAB26C53-A467-4F5B-8C09-4B1CF58CB6F5}"/>
                </a:ext>
              </a:extLst>
            </p:cNvPr>
            <p:cNvSpPr txBox="1"/>
            <p:nvPr/>
          </p:nvSpPr>
          <p:spPr>
            <a:xfrm>
              <a:off x="1428727" y="3527230"/>
              <a:ext cx="760957" cy="4770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500" dirty="0">
                  <a:solidFill>
                    <a:schemeClr val="bg1"/>
                  </a:solidFill>
                  <a:latin typeface="Bahnschrift SemiLight Condensed" panose="020B0502040204020203" pitchFamily="34" charset="0"/>
                </a:rPr>
                <a:t>1990s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31CAC9B6-8F96-4209-916E-0BFCC184AC69}"/>
                </a:ext>
              </a:extLst>
            </p:cNvPr>
            <p:cNvSpPr txBox="1"/>
            <p:nvPr/>
          </p:nvSpPr>
          <p:spPr>
            <a:xfrm>
              <a:off x="770705" y="4239238"/>
              <a:ext cx="2076997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>
                  <a:latin typeface="ITC Avant Garde Pro Md" panose="020B0602020202020204" pitchFamily="34" charset="0"/>
                </a:rPr>
                <a:t>The beginning of e-commerce</a:t>
              </a:r>
            </a:p>
            <a:p>
              <a:pPr algn="ctr"/>
              <a:r>
                <a:rPr lang="es-ES" sz="1100" dirty="0">
                  <a:solidFill>
                    <a:schemeClr val="bg2">
                      <a:lumMod val="50000"/>
                    </a:schemeClr>
                  </a:solidFill>
                  <a:latin typeface="ITC Avant Garde Pro Bk" panose="020B0502020202020204" pitchFamily="34" charset="0"/>
                </a:rPr>
                <a:t>(Dos Santos et al., 2017; </a:t>
              </a:r>
              <a:r>
                <a:rPr lang="es-ES" sz="1100" dirty="0" err="1">
                  <a:solidFill>
                    <a:schemeClr val="bg2">
                      <a:lumMod val="50000"/>
                    </a:schemeClr>
                  </a:solidFill>
                  <a:latin typeface="ITC Avant Garde Pro Bk" panose="020B0502020202020204" pitchFamily="34" charset="0"/>
                </a:rPr>
                <a:t>Oláh</a:t>
              </a:r>
              <a:r>
                <a:rPr lang="es-ES" sz="1100" dirty="0">
                  <a:solidFill>
                    <a:schemeClr val="bg2">
                      <a:lumMod val="50000"/>
                    </a:schemeClr>
                  </a:solidFill>
                  <a:latin typeface="ITC Avant Garde Pro Bk" panose="020B0502020202020204" pitchFamily="34" charset="0"/>
                </a:rPr>
                <a:t> et al., 2019). </a:t>
              </a:r>
              <a:endParaRPr lang="en-US" sz="1100" dirty="0">
                <a:solidFill>
                  <a:schemeClr val="bg2">
                    <a:lumMod val="50000"/>
                  </a:schemeClr>
                </a:solidFill>
                <a:latin typeface="ITC Avant Garde Pro Bk" panose="020B0502020202020204" pitchFamily="34" charset="0"/>
              </a:endParaRPr>
            </a:p>
          </p:txBody>
        </p:sp>
        <p:pic>
          <p:nvPicPr>
            <p:cNvPr id="25" name="Graphic 24">
              <a:extLst>
                <a:ext uri="{FF2B5EF4-FFF2-40B4-BE49-F238E27FC236}">
                  <a16:creationId xmlns:a16="http://schemas.microsoft.com/office/drawing/2014/main" id="{BE597E58-1A19-4B82-9A8C-8BF7CD5B900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332149" y="2223622"/>
              <a:ext cx="954108" cy="954108"/>
            </a:xfrm>
            <a:prstGeom prst="rect">
              <a:avLst/>
            </a:prstGeom>
          </p:spPr>
        </p:pic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6F65AD55-1E5A-4316-AE24-4C3E1F18FA9E}"/>
              </a:ext>
            </a:extLst>
          </p:cNvPr>
          <p:cNvGrpSpPr/>
          <p:nvPr/>
        </p:nvGrpSpPr>
        <p:grpSpPr>
          <a:xfrm>
            <a:off x="4772431" y="2193680"/>
            <a:ext cx="3551056" cy="2786466"/>
            <a:chOff x="4772431" y="2193680"/>
            <a:chExt cx="3551056" cy="2786466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095B40F4-D777-4FD9-A8E2-E12B1039B516}"/>
                </a:ext>
              </a:extLst>
            </p:cNvPr>
            <p:cNvSpPr/>
            <p:nvPr/>
          </p:nvSpPr>
          <p:spPr>
            <a:xfrm>
              <a:off x="4772431" y="3765756"/>
              <a:ext cx="2399078" cy="56450"/>
            </a:xfrm>
            <a:prstGeom prst="rect">
              <a:avLst/>
            </a:prstGeom>
            <a:solidFill>
              <a:srgbClr val="1B26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E39A811C-541F-4862-B6E2-644DDE834096}"/>
                </a:ext>
              </a:extLst>
            </p:cNvPr>
            <p:cNvSpPr/>
            <p:nvPr/>
          </p:nvSpPr>
          <p:spPr>
            <a:xfrm>
              <a:off x="6935558" y="3416325"/>
              <a:ext cx="698863" cy="698863"/>
            </a:xfrm>
            <a:prstGeom prst="ellipse">
              <a:avLst/>
            </a:prstGeom>
            <a:solidFill>
              <a:srgbClr val="1B26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808CFA7-9E2D-4784-B8FF-F3CE43CC9F9C}"/>
                </a:ext>
              </a:extLst>
            </p:cNvPr>
            <p:cNvSpPr txBox="1"/>
            <p:nvPr/>
          </p:nvSpPr>
          <p:spPr>
            <a:xfrm>
              <a:off x="6935558" y="3565701"/>
              <a:ext cx="698863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dirty="0">
                  <a:solidFill>
                    <a:schemeClr val="bg1"/>
                  </a:solidFill>
                  <a:latin typeface="Bahnschrift SemiLight Condensed" panose="020B0502040204020203" pitchFamily="34" charset="0"/>
                </a:rPr>
                <a:t>COVID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79808F3B-9EBA-4950-83A4-5158E32B46FF}"/>
                </a:ext>
              </a:extLst>
            </p:cNvPr>
            <p:cNvSpPr txBox="1"/>
            <p:nvPr/>
          </p:nvSpPr>
          <p:spPr>
            <a:xfrm>
              <a:off x="6246490" y="4226093"/>
              <a:ext cx="2076997" cy="7540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>
                  <a:latin typeface="ITC Avant Garde Pro Md" panose="020B0602020202020204" pitchFamily="34" charset="0"/>
                </a:rPr>
                <a:t>The global pandemic</a:t>
              </a:r>
            </a:p>
            <a:p>
              <a:pPr algn="ctr"/>
              <a:r>
                <a:rPr lang="es-ES" sz="1100" dirty="0">
                  <a:solidFill>
                    <a:schemeClr val="bg2">
                      <a:lumMod val="50000"/>
                    </a:schemeClr>
                  </a:solidFill>
                  <a:latin typeface="ITC Avant Garde Pro Bk" panose="020B0502020202020204" pitchFamily="34" charset="0"/>
                </a:rPr>
                <a:t>(</a:t>
              </a:r>
              <a:r>
                <a:rPr lang="es-ES" sz="1100" dirty="0" err="1">
                  <a:solidFill>
                    <a:schemeClr val="bg2">
                      <a:lumMod val="50000"/>
                    </a:schemeClr>
                  </a:solidFill>
                  <a:latin typeface="ITC Avant Garde Pro Bk" panose="020B0502020202020204" pitchFamily="34" charset="0"/>
                </a:rPr>
                <a:t>Bhatti</a:t>
              </a:r>
              <a:r>
                <a:rPr lang="es-ES" sz="1100" dirty="0">
                  <a:solidFill>
                    <a:schemeClr val="bg2">
                      <a:lumMod val="50000"/>
                    </a:schemeClr>
                  </a:solidFill>
                  <a:latin typeface="ITC Avant Garde Pro Bk" panose="020B0502020202020204" pitchFamily="34" charset="0"/>
                </a:rPr>
                <a:t> et al., 2020). </a:t>
              </a:r>
              <a:endParaRPr lang="en-US" sz="1100" dirty="0">
                <a:solidFill>
                  <a:schemeClr val="bg2">
                    <a:lumMod val="50000"/>
                  </a:schemeClr>
                </a:solidFill>
                <a:latin typeface="ITC Avant Garde Pro Bk" panose="020B0502020202020204" pitchFamily="34" charset="0"/>
              </a:endParaRPr>
            </a:p>
          </p:txBody>
        </p:sp>
        <p:pic>
          <p:nvPicPr>
            <p:cNvPr id="27" name="Graphic 26">
              <a:extLst>
                <a:ext uri="{FF2B5EF4-FFF2-40B4-BE49-F238E27FC236}">
                  <a16:creationId xmlns:a16="http://schemas.microsoft.com/office/drawing/2014/main" id="{15189782-0870-49B6-8DC3-B41D654D771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6829159" y="2193680"/>
              <a:ext cx="905950" cy="905950"/>
            </a:xfrm>
            <a:prstGeom prst="rect">
              <a:avLst/>
            </a:prstGeom>
          </p:spPr>
        </p:pic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49ABF6A3-F910-4DBE-8E8B-29F458CFD823}"/>
              </a:ext>
            </a:extLst>
          </p:cNvPr>
          <p:cNvGrpSpPr/>
          <p:nvPr/>
        </p:nvGrpSpPr>
        <p:grpSpPr>
          <a:xfrm>
            <a:off x="7515631" y="2177312"/>
            <a:ext cx="4676369" cy="2802834"/>
            <a:chOff x="7515631" y="2177312"/>
            <a:chExt cx="4676369" cy="2802834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FF04791F-A5EF-49CC-A9CB-C58B60E4DD7A}"/>
                </a:ext>
              </a:extLst>
            </p:cNvPr>
            <p:cNvSpPr/>
            <p:nvPr/>
          </p:nvSpPr>
          <p:spPr>
            <a:xfrm>
              <a:off x="10258831" y="3765756"/>
              <a:ext cx="1933169" cy="56450"/>
            </a:xfrm>
            <a:prstGeom prst="rect">
              <a:avLst/>
            </a:prstGeom>
            <a:solidFill>
              <a:srgbClr val="1B26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105B2F01-CA10-46FB-95EE-AD370D6208EA}"/>
                </a:ext>
              </a:extLst>
            </p:cNvPr>
            <p:cNvSpPr/>
            <p:nvPr/>
          </p:nvSpPr>
          <p:spPr>
            <a:xfrm>
              <a:off x="7515631" y="3765756"/>
              <a:ext cx="2399078" cy="56450"/>
            </a:xfrm>
            <a:prstGeom prst="rect">
              <a:avLst/>
            </a:prstGeom>
            <a:solidFill>
              <a:srgbClr val="1B26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FBEB6183-A782-4299-AA36-72055BB4DEBC}"/>
                </a:ext>
              </a:extLst>
            </p:cNvPr>
            <p:cNvSpPr/>
            <p:nvPr/>
          </p:nvSpPr>
          <p:spPr>
            <a:xfrm>
              <a:off x="9678758" y="3416325"/>
              <a:ext cx="698863" cy="698863"/>
            </a:xfrm>
            <a:prstGeom prst="ellipse">
              <a:avLst/>
            </a:prstGeom>
            <a:solidFill>
              <a:srgbClr val="1B26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FA91F135-9292-4B3B-A82B-652B0BCCC7AF}"/>
                </a:ext>
              </a:extLst>
            </p:cNvPr>
            <p:cNvSpPr txBox="1"/>
            <p:nvPr/>
          </p:nvSpPr>
          <p:spPr>
            <a:xfrm>
              <a:off x="9650169" y="3542619"/>
              <a:ext cx="75603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dirty="0">
                  <a:solidFill>
                    <a:schemeClr val="bg1"/>
                  </a:solidFill>
                  <a:latin typeface="Bahnschrift SemiLight Condensed" panose="020B0502040204020203" pitchFamily="34" charset="0"/>
                </a:rPr>
                <a:t>2021+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C3947EF9-DD5A-4DA5-9D3E-1BDFFC5952A5}"/>
                </a:ext>
              </a:extLst>
            </p:cNvPr>
            <p:cNvSpPr txBox="1"/>
            <p:nvPr/>
          </p:nvSpPr>
          <p:spPr>
            <a:xfrm>
              <a:off x="8989690" y="4226093"/>
              <a:ext cx="2076997" cy="7540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>
                  <a:latin typeface="ITC Avant Garde Pro Md" panose="020B0602020202020204" pitchFamily="34" charset="0"/>
                </a:rPr>
                <a:t>E-commerce in Kazakhstan</a:t>
              </a:r>
            </a:p>
            <a:p>
              <a:pPr algn="ctr"/>
              <a:r>
                <a:rPr lang="es-ES" sz="1100" dirty="0">
                  <a:solidFill>
                    <a:schemeClr val="bg2">
                      <a:lumMod val="50000"/>
                    </a:schemeClr>
                  </a:solidFill>
                  <a:latin typeface="ITC Avant Garde Pro Bk" panose="020B0502020202020204" pitchFamily="34" charset="0"/>
                </a:rPr>
                <a:t>(Alfonso et al., 2021). </a:t>
              </a:r>
              <a:endParaRPr lang="en-US" sz="1100" dirty="0">
                <a:solidFill>
                  <a:schemeClr val="bg2">
                    <a:lumMod val="50000"/>
                  </a:schemeClr>
                </a:solidFill>
                <a:latin typeface="ITC Avant Garde Pro Bk" panose="020B0502020202020204" pitchFamily="34" charset="0"/>
              </a:endParaRPr>
            </a:p>
          </p:txBody>
        </p:sp>
        <p:pic>
          <p:nvPicPr>
            <p:cNvPr id="29" name="Graphic 28">
              <a:extLst>
                <a:ext uri="{FF2B5EF4-FFF2-40B4-BE49-F238E27FC236}">
                  <a16:creationId xmlns:a16="http://schemas.microsoft.com/office/drawing/2014/main" id="{248D5B79-16DF-440B-B4C6-966C0D79C08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9575213" y="2177312"/>
              <a:ext cx="905950" cy="905950"/>
            </a:xfrm>
            <a:prstGeom prst="rect">
              <a:avLst/>
            </a:prstGeom>
          </p:spPr>
        </p:pic>
      </p:grp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CD1ED31A-B52B-4B6C-92E0-98EE0CF04247}"/>
              </a:ext>
            </a:extLst>
          </p:cNvPr>
          <p:cNvCxnSpPr>
            <a:cxnSpLocks/>
          </p:cNvCxnSpPr>
          <p:nvPr/>
        </p:nvCxnSpPr>
        <p:spPr>
          <a:xfrm>
            <a:off x="688185" y="1082000"/>
            <a:ext cx="1101613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9722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9FBDCD-8AFA-4187-9760-F291DAA622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7442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9FBDCD-8AFA-4187-9760-F291DAA622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B173FADA-9335-4698-B821-41136278D0A3}"/>
              </a:ext>
            </a:extLst>
          </p:cNvPr>
          <p:cNvSpPr txBox="1"/>
          <p:nvPr/>
        </p:nvSpPr>
        <p:spPr>
          <a:xfrm>
            <a:off x="670662" y="556502"/>
            <a:ext cx="5407815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ITC Avant Garde Pro Md" panose="020B0602020202020204" pitchFamily="34" charset="0"/>
              </a:rPr>
              <a:t>Company information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6C8CB52-A775-48E5-8626-69C89B82A19C}"/>
              </a:ext>
            </a:extLst>
          </p:cNvPr>
          <p:cNvGrpSpPr/>
          <p:nvPr/>
        </p:nvGrpSpPr>
        <p:grpSpPr>
          <a:xfrm>
            <a:off x="899148" y="1874861"/>
            <a:ext cx="5179329" cy="707886"/>
            <a:chOff x="899148" y="1874861"/>
            <a:chExt cx="5179329" cy="707886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2CB54452-26FE-49AD-B11A-468140369777}"/>
                </a:ext>
              </a:extLst>
            </p:cNvPr>
            <p:cNvSpPr txBox="1"/>
            <p:nvPr/>
          </p:nvSpPr>
          <p:spPr>
            <a:xfrm>
              <a:off x="1959424" y="1874861"/>
              <a:ext cx="4119053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dirty="0">
                  <a:latin typeface="ITC Avant Garde Pro Bk" panose="020B0502020202020204" pitchFamily="34" charset="0"/>
                </a:rPr>
                <a:t>The largest retail chain in Kazakhstan</a:t>
              </a:r>
            </a:p>
          </p:txBody>
        </p:sp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5D134C8D-4A92-4723-9184-AFDDE720F53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99148" y="1874861"/>
              <a:ext cx="707886" cy="707886"/>
            </a:xfrm>
            <a:prstGeom prst="rect">
              <a:avLst/>
            </a:prstGeom>
          </p:spPr>
        </p:pic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39FA3F02-985E-4348-98C5-53ED86FC81FF}"/>
              </a:ext>
            </a:extLst>
          </p:cNvPr>
          <p:cNvGrpSpPr/>
          <p:nvPr/>
        </p:nvGrpSpPr>
        <p:grpSpPr>
          <a:xfrm>
            <a:off x="899148" y="3040766"/>
            <a:ext cx="5815160" cy="707886"/>
            <a:chOff x="899148" y="3040766"/>
            <a:chExt cx="5815160" cy="707886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9B21099E-F48F-4BF4-A5D0-4BA32B6AD364}"/>
                </a:ext>
              </a:extLst>
            </p:cNvPr>
            <p:cNvSpPr txBox="1"/>
            <p:nvPr/>
          </p:nvSpPr>
          <p:spPr>
            <a:xfrm>
              <a:off x="1959424" y="3040766"/>
              <a:ext cx="4754884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dirty="0">
                  <a:latin typeface="ITC Avant Garde Pro Bk" panose="020B0502020202020204" pitchFamily="34" charset="0"/>
                </a:rPr>
                <a:t>Magnum Club – loyalty card program</a:t>
              </a:r>
            </a:p>
          </p:txBody>
        </p:sp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D8C188AF-AA8D-4627-8769-CF2B342801F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99148" y="3040766"/>
              <a:ext cx="707886" cy="707886"/>
            </a:xfrm>
            <a:prstGeom prst="rect">
              <a:avLst/>
            </a:prstGeom>
          </p:spPr>
        </p:pic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6E21C70-6186-45B9-A29D-9AAA5F04D495}"/>
              </a:ext>
            </a:extLst>
          </p:cNvPr>
          <p:cNvGrpSpPr/>
          <p:nvPr/>
        </p:nvGrpSpPr>
        <p:grpSpPr>
          <a:xfrm>
            <a:off x="899148" y="4206671"/>
            <a:ext cx="5815160" cy="707886"/>
            <a:chOff x="899148" y="4206671"/>
            <a:chExt cx="5815160" cy="707886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2178D92D-A963-4A14-BAE4-830CE9746092}"/>
                </a:ext>
              </a:extLst>
            </p:cNvPr>
            <p:cNvSpPr txBox="1"/>
            <p:nvPr/>
          </p:nvSpPr>
          <p:spPr>
            <a:xfrm>
              <a:off x="1959424" y="4206671"/>
              <a:ext cx="4754884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dirty="0">
                  <a:latin typeface="ITC Avant Garde Pro Bk" panose="020B0502020202020204" pitchFamily="34" charset="0"/>
                </a:rPr>
                <a:t>First self-checkout stations in Kazakhstan</a:t>
              </a:r>
            </a:p>
          </p:txBody>
        </p:sp>
        <p:pic>
          <p:nvPicPr>
            <p:cNvPr id="17" name="Graphic 16">
              <a:extLst>
                <a:ext uri="{FF2B5EF4-FFF2-40B4-BE49-F238E27FC236}">
                  <a16:creationId xmlns:a16="http://schemas.microsoft.com/office/drawing/2014/main" id="{4CFFC2E9-0531-46FB-9813-CE03F968956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99148" y="4206671"/>
              <a:ext cx="707886" cy="707886"/>
            </a:xfrm>
            <a:prstGeom prst="rect">
              <a:avLst/>
            </a:prstGeom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7501017D-2325-4BC5-9C1F-F84F08181116}"/>
              </a:ext>
            </a:extLst>
          </p:cNvPr>
          <p:cNvGrpSpPr/>
          <p:nvPr/>
        </p:nvGrpSpPr>
        <p:grpSpPr>
          <a:xfrm>
            <a:off x="899148" y="5372576"/>
            <a:ext cx="5815160" cy="707886"/>
            <a:chOff x="899148" y="5372576"/>
            <a:chExt cx="5815160" cy="707886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865D2A9C-D0E5-4530-BE0E-6AB989CCAB53}"/>
                </a:ext>
              </a:extLst>
            </p:cNvPr>
            <p:cNvSpPr txBox="1"/>
            <p:nvPr/>
          </p:nvSpPr>
          <p:spPr>
            <a:xfrm>
              <a:off x="1959424" y="5372576"/>
              <a:ext cx="4754884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dirty="0">
                  <a:latin typeface="ITC Avant Garde Pro Bk" panose="020B0502020202020204" pitchFamily="34" charset="0"/>
                </a:rPr>
                <a:t>Magnum Go - online grocery shopping platform</a:t>
              </a:r>
            </a:p>
          </p:txBody>
        </p:sp>
        <p:pic>
          <p:nvPicPr>
            <p:cNvPr id="19" name="Graphic 18">
              <a:extLst>
                <a:ext uri="{FF2B5EF4-FFF2-40B4-BE49-F238E27FC236}">
                  <a16:creationId xmlns:a16="http://schemas.microsoft.com/office/drawing/2014/main" id="{B156CE9B-12BD-4C7B-9634-B5394DA9541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899148" y="5372576"/>
              <a:ext cx="707886" cy="707886"/>
            </a:xfrm>
            <a:prstGeom prst="rect">
              <a:avLst/>
            </a:prstGeom>
          </p:spPr>
        </p:pic>
      </p:grp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5ED0A00-9A12-4023-AF12-3A7389CE1467}"/>
              </a:ext>
            </a:extLst>
          </p:cNvPr>
          <p:cNvCxnSpPr>
            <a:cxnSpLocks/>
          </p:cNvCxnSpPr>
          <p:nvPr/>
        </p:nvCxnSpPr>
        <p:spPr>
          <a:xfrm>
            <a:off x="688185" y="1082000"/>
            <a:ext cx="6026123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>
            <a:extLst>
              <a:ext uri="{FF2B5EF4-FFF2-40B4-BE49-F238E27FC236}">
                <a16:creationId xmlns:a16="http://schemas.microsoft.com/office/drawing/2014/main" id="{7DE274AC-1AE8-42BC-93CE-028B440A365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03" r="52654"/>
          <a:stretch/>
        </p:blipFill>
        <p:spPr bwMode="auto">
          <a:xfrm>
            <a:off x="7332616" y="0"/>
            <a:ext cx="4859384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6565AF-D139-4B6A-9A04-0442D114C6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6D2641-81B4-4FA9-AABA-CD0BE301EB4F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33930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9FBDCD-8AFA-4187-9760-F291DAA622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9FBDCD-8AFA-4187-9760-F291DAA622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0BB6AA15-A192-4CF5-858C-B2961ED945DF}"/>
              </a:ext>
            </a:extLst>
          </p:cNvPr>
          <p:cNvSpPr txBox="1"/>
          <p:nvPr/>
        </p:nvSpPr>
        <p:spPr>
          <a:xfrm>
            <a:off x="688185" y="556502"/>
            <a:ext cx="7410786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ITC Avant Garde Pro Md" panose="020B0602020202020204" pitchFamily="34" charset="0"/>
              </a:rPr>
              <a:t>Problem statement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5EA35A10-A8DB-4927-BAE2-99DDD20B62F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872732" y="4282502"/>
            <a:ext cx="1034156" cy="103415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0BCCB41-0C8D-4426-95CF-24E13769A1AC}"/>
              </a:ext>
            </a:extLst>
          </p:cNvPr>
          <p:cNvSpPr txBox="1"/>
          <p:nvPr/>
        </p:nvSpPr>
        <p:spPr>
          <a:xfrm>
            <a:off x="1652345" y="5488264"/>
            <a:ext cx="34749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ITC Avant Garde Pro Bk" panose="020B0502020202020204" pitchFamily="34" charset="0"/>
              </a:rPr>
              <a:t>Product assortment for physical stores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084FBB8-AE7D-49C3-8EC0-6AE03B6A7C5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872732" y="2354332"/>
            <a:ext cx="1034156" cy="1034156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F2FA54A0-6D0D-480F-B235-E1512B6A6BAC}"/>
              </a:ext>
            </a:extLst>
          </p:cNvPr>
          <p:cNvSpPr txBox="1"/>
          <p:nvPr/>
        </p:nvSpPr>
        <p:spPr>
          <a:xfrm>
            <a:off x="2045067" y="3481308"/>
            <a:ext cx="27006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ITC Avant Garde Pro Bk" panose="020B0502020202020204" pitchFamily="34" charset="0"/>
              </a:rPr>
              <a:t>Visit the stor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583DF2F-7DB9-40A8-9652-274CCCD2E323}"/>
              </a:ext>
            </a:extLst>
          </p:cNvPr>
          <p:cNvSpPr txBox="1"/>
          <p:nvPr/>
        </p:nvSpPr>
        <p:spPr>
          <a:xfrm>
            <a:off x="1471203" y="1615181"/>
            <a:ext cx="383721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ITC Avant Garde Pro Md" panose="020B0602020202020204" pitchFamily="34" charset="0"/>
              </a:rPr>
              <a:t>Offline customer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38523C4-B9BC-4508-8F2B-00105F55973B}"/>
              </a:ext>
            </a:extLst>
          </p:cNvPr>
          <p:cNvSpPr txBox="1"/>
          <p:nvPr/>
        </p:nvSpPr>
        <p:spPr>
          <a:xfrm>
            <a:off x="7147159" y="3532780"/>
            <a:ext cx="33100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ITC Avant Garde Pro Bk" panose="020B0502020202020204" pitchFamily="34" charset="0"/>
              </a:rPr>
              <a:t>Order from their hom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E4131BB-7265-4A3C-8287-31704B11BC2D}"/>
              </a:ext>
            </a:extLst>
          </p:cNvPr>
          <p:cNvSpPr txBox="1"/>
          <p:nvPr/>
        </p:nvSpPr>
        <p:spPr>
          <a:xfrm>
            <a:off x="6883583" y="1615181"/>
            <a:ext cx="383721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ITC Avant Garde Pro Md" panose="020B0602020202020204" pitchFamily="34" charset="0"/>
              </a:rPr>
              <a:t>Online customer</a:t>
            </a: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0628898B-3C59-4933-B1E4-36947BB47AD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322129" y="2365098"/>
            <a:ext cx="960122" cy="960122"/>
          </a:xfrm>
          <a:prstGeom prst="rect">
            <a:avLst/>
          </a:prstGeom>
        </p:spPr>
      </p:pic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E07A8AAF-0C6F-4E83-B728-215083B92CA9}"/>
              </a:ext>
            </a:extLst>
          </p:cNvPr>
          <p:cNvCxnSpPr>
            <a:cxnSpLocks/>
          </p:cNvCxnSpPr>
          <p:nvPr/>
        </p:nvCxnSpPr>
        <p:spPr>
          <a:xfrm>
            <a:off x="688185" y="1082000"/>
            <a:ext cx="1101613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21BD09EA-137C-49F9-92C8-45E4ACD5D115}"/>
              </a:ext>
            </a:extLst>
          </p:cNvPr>
          <p:cNvSpPr/>
          <p:nvPr/>
        </p:nvSpPr>
        <p:spPr>
          <a:xfrm>
            <a:off x="888273" y="1319354"/>
            <a:ext cx="5003075" cy="487243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42D405-3D24-4532-9B83-B408B49161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6D2641-81B4-4FA9-AABA-CD0BE301EB4F}" type="slidenum">
              <a:rPr lang="en-US" smtClean="0">
                <a:latin typeface="ITC Avant Garde Pro Md" panose="020B0602020202020204" pitchFamily="34" charset="0"/>
              </a:rPr>
              <a:t>8</a:t>
            </a:fld>
            <a:endParaRPr lang="en-US" dirty="0">
              <a:latin typeface="ITC Avant Garde Pro Md" panose="020B0602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48BCAEF-DB83-46B9-BBD6-0FF334569F9D}"/>
              </a:ext>
            </a:extLst>
          </p:cNvPr>
          <p:cNvSpPr/>
          <p:nvPr/>
        </p:nvSpPr>
        <p:spPr>
          <a:xfrm>
            <a:off x="6300654" y="1319354"/>
            <a:ext cx="5003075" cy="487243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D339E33-1A85-485B-842D-5A29C0AED175}"/>
              </a:ext>
            </a:extLst>
          </p:cNvPr>
          <p:cNvSpPr txBox="1"/>
          <p:nvPr/>
        </p:nvSpPr>
        <p:spPr>
          <a:xfrm>
            <a:off x="7026186" y="5502328"/>
            <a:ext cx="35520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ITC Avant Garde Pro Bk" panose="020B0502020202020204" pitchFamily="34" charset="0"/>
              </a:rPr>
              <a:t>Product assortment for e-commerce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85E2EA59-E971-450B-ACFC-661FE7A92A7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235044" y="4232434"/>
            <a:ext cx="1134291" cy="1134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07766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1.48148E-6 L -0.22188 -0.20579 " pathEditMode="relative" rAng="0" ptsTypes="AA">
                                      <p:cBhvr>
                                        <p:cTn id="54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094" y="-10301"/>
                                    </p:animMotion>
                                  </p:childTnLst>
                                </p:cTn>
                              </p:par>
                              <p:par>
                                <p:cTn id="55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1.48148E-6 L -0.22188 -0.1588 " pathEditMode="relative" rAng="0" ptsTypes="AA">
                                      <p:cBhvr>
                                        <p:cTn id="56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094" y="-7940"/>
                                    </p:animMotion>
                                  </p:childTnLst>
                                </p:cTn>
                              </p:par>
                              <p:par>
                                <p:cTn id="57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8" dur="1000" fill="hold"/>
                                        <p:tgtEl>
                                          <p:spTgt spid="18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5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6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4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0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9" grpId="1"/>
      <p:bldP spid="13" grpId="0"/>
      <p:bldP spid="13" grpId="1"/>
      <p:bldP spid="14" grpId="0"/>
      <p:bldP spid="14" grpId="1"/>
      <p:bldP spid="27" grpId="0"/>
      <p:bldP spid="27" grpId="1"/>
      <p:bldP spid="28" grpId="0"/>
      <p:bldP spid="28" grpId="1"/>
      <p:bldP spid="11" grpId="0" animBg="1"/>
      <p:bldP spid="11" grpId="1" animBg="1"/>
      <p:bldP spid="29" grpId="0" animBg="1"/>
      <p:bldP spid="29" grpId="1" animBg="1"/>
      <p:bldP spid="30" grpId="0"/>
      <p:bldP spid="30" grpId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9FBDCD-8AFA-4187-9760-F291DAA622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9FBDCD-8AFA-4187-9760-F291DAA622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FBC70C2F-8B4B-49DC-A44A-A43F11C907FF}"/>
              </a:ext>
            </a:extLst>
          </p:cNvPr>
          <p:cNvSpPr txBox="1"/>
          <p:nvPr/>
        </p:nvSpPr>
        <p:spPr>
          <a:xfrm>
            <a:off x="688185" y="556502"/>
            <a:ext cx="7410786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ITC Avant Garde Pro Md" panose="020B0602020202020204" pitchFamily="34" charset="0"/>
              </a:rPr>
              <a:t>Project scope and objectiv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585624A-C30C-4012-96E4-BC7568192C3C}"/>
              </a:ext>
            </a:extLst>
          </p:cNvPr>
          <p:cNvSpPr/>
          <p:nvPr/>
        </p:nvSpPr>
        <p:spPr>
          <a:xfrm>
            <a:off x="796834" y="1748228"/>
            <a:ext cx="10554789" cy="1162593"/>
          </a:xfrm>
          <a:prstGeom prst="rect">
            <a:avLst/>
          </a:prstGeom>
          <a:solidFill>
            <a:srgbClr val="1B26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ITC Avant Garde Pro Md" panose="020B0602020202020204" pitchFamily="34" charset="0"/>
              </a:rPr>
              <a:t>Assortment improvement of Magnum retail chain </a:t>
            </a:r>
          </a:p>
          <a:p>
            <a:pPr algn="ctr"/>
            <a:r>
              <a:rPr lang="en-US" dirty="0">
                <a:latin typeface="ITC Avant Garde Pro Md" panose="020B0602020202020204" pitchFamily="34" charset="0"/>
              </a:rPr>
              <a:t>through e-commerce channels: A Data Analytics approach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F68FA70-9476-435B-80A9-3D85CD7ACA99}"/>
              </a:ext>
            </a:extLst>
          </p:cNvPr>
          <p:cNvSpPr/>
          <p:nvPr/>
        </p:nvSpPr>
        <p:spPr>
          <a:xfrm>
            <a:off x="2930436" y="3095896"/>
            <a:ext cx="1959428" cy="268010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rgbClr val="1B26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0ED467D-93FE-4115-8825-1B45B0BB3222}"/>
              </a:ext>
            </a:extLst>
          </p:cNvPr>
          <p:cNvSpPr txBox="1"/>
          <p:nvPr/>
        </p:nvSpPr>
        <p:spPr>
          <a:xfrm>
            <a:off x="2930435" y="4419979"/>
            <a:ext cx="1959428" cy="11590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600" dirty="0">
                <a:latin typeface="ITC Avant Garde Pro Md" panose="020B0602020202020204" pitchFamily="34" charset="0"/>
              </a:rPr>
              <a:t>Competitor analysis and benchmarking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7882B96-D9E8-4B4F-A273-66B3852BEE9A}"/>
              </a:ext>
            </a:extLst>
          </p:cNvPr>
          <p:cNvSpPr/>
          <p:nvPr/>
        </p:nvSpPr>
        <p:spPr>
          <a:xfrm>
            <a:off x="5064036" y="3095897"/>
            <a:ext cx="1959428" cy="268010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1B26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02ACEBF-2C5D-4A42-961C-F6A2A17317A8}"/>
              </a:ext>
            </a:extLst>
          </p:cNvPr>
          <p:cNvSpPr txBox="1"/>
          <p:nvPr/>
        </p:nvSpPr>
        <p:spPr>
          <a:xfrm>
            <a:off x="5064036" y="4499227"/>
            <a:ext cx="1959428" cy="11590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600" dirty="0">
                <a:latin typeface="ITC Avant Garde Pro Md" panose="020B0602020202020204" pitchFamily="34" charset="0"/>
              </a:rPr>
              <a:t>Categorization and listing algorithms</a:t>
            </a:r>
            <a:endParaRPr lang="en-US" sz="1600" dirty="0">
              <a:highlight>
                <a:srgbClr val="FFFF00"/>
              </a:highlight>
              <a:latin typeface="ITC Avant Garde Pro Md" panose="020B0602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86EB854-42B4-4707-80D2-4D362F59686F}"/>
              </a:ext>
            </a:extLst>
          </p:cNvPr>
          <p:cNvSpPr/>
          <p:nvPr/>
        </p:nvSpPr>
        <p:spPr>
          <a:xfrm>
            <a:off x="7228115" y="3095897"/>
            <a:ext cx="1959428" cy="268010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1B26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FCBA4F8-6DCD-4BBC-82AD-7AEA5AAB7A98}"/>
              </a:ext>
            </a:extLst>
          </p:cNvPr>
          <p:cNvSpPr txBox="1"/>
          <p:nvPr/>
        </p:nvSpPr>
        <p:spPr>
          <a:xfrm>
            <a:off x="7228114" y="4590767"/>
            <a:ext cx="1959428" cy="7897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600" dirty="0">
                <a:latin typeface="ITC Avant Garde Pro Md" panose="020B0602020202020204" pitchFamily="34" charset="0"/>
              </a:rPr>
              <a:t>Mobile ergonomics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458848FF-47DB-43A4-BB28-60B3B3AB5A25}"/>
              </a:ext>
            </a:extLst>
          </p:cNvPr>
          <p:cNvCxnSpPr>
            <a:cxnSpLocks/>
          </p:cNvCxnSpPr>
          <p:nvPr/>
        </p:nvCxnSpPr>
        <p:spPr>
          <a:xfrm>
            <a:off x="688185" y="1082000"/>
            <a:ext cx="1101613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B11762B-71AB-4475-B982-445FA54B8A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6D2641-81B4-4FA9-AABA-CD0BE301EB4F}" type="slidenum">
              <a:rPr lang="en-US" smtClean="0"/>
              <a:t>9</a:t>
            </a:fld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D3E407D-52F1-4AC7-8207-B3A7DE04012A}"/>
              </a:ext>
            </a:extLst>
          </p:cNvPr>
          <p:cNvSpPr/>
          <p:nvPr/>
        </p:nvSpPr>
        <p:spPr>
          <a:xfrm>
            <a:off x="9392195" y="3095899"/>
            <a:ext cx="1959428" cy="2680103"/>
          </a:xfrm>
          <a:prstGeom prst="rect">
            <a:avLst/>
          </a:prstGeom>
          <a:solidFill>
            <a:schemeClr val="bg1"/>
          </a:solidFill>
          <a:ln>
            <a:solidFill>
              <a:srgbClr val="1B26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5247017-F5BB-46BD-9741-1BDE68262B9E}"/>
              </a:ext>
            </a:extLst>
          </p:cNvPr>
          <p:cNvSpPr txBox="1"/>
          <p:nvPr/>
        </p:nvSpPr>
        <p:spPr>
          <a:xfrm>
            <a:off x="9392194" y="4604644"/>
            <a:ext cx="1959428" cy="7897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600" dirty="0">
                <a:latin typeface="ITC Avant Garde Pro Md" panose="020B0602020202020204" pitchFamily="34" charset="0"/>
              </a:rPr>
              <a:t>Interactive dashboard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1A7107C-8325-438C-A7B0-76AA7704EADD}"/>
              </a:ext>
            </a:extLst>
          </p:cNvPr>
          <p:cNvSpPr/>
          <p:nvPr/>
        </p:nvSpPr>
        <p:spPr>
          <a:xfrm>
            <a:off x="796835" y="3095897"/>
            <a:ext cx="1959428" cy="268010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rgbClr val="1B26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844326E-DC7A-4960-801F-8CCCDC080AD4}"/>
              </a:ext>
            </a:extLst>
          </p:cNvPr>
          <p:cNvSpPr txBox="1"/>
          <p:nvPr/>
        </p:nvSpPr>
        <p:spPr>
          <a:xfrm>
            <a:off x="796835" y="4499227"/>
            <a:ext cx="1959428" cy="4203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600" dirty="0">
                <a:latin typeface="ITC Avant Garde Pro Md" panose="020B0602020202020204" pitchFamily="34" charset="0"/>
              </a:rPr>
              <a:t>Online vs. Offlin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00FC4FD-91E3-46E0-AF55-636E4CE4E6CB}"/>
              </a:ext>
            </a:extLst>
          </p:cNvPr>
          <p:cNvSpPr txBox="1"/>
          <p:nvPr/>
        </p:nvSpPr>
        <p:spPr>
          <a:xfrm>
            <a:off x="1645664" y="3574176"/>
            <a:ext cx="370626" cy="861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 dirty="0">
                <a:latin typeface="Bahnschrift SemiLight Condensed" panose="020B0502040204020203" pitchFamily="34" charset="0"/>
              </a:rPr>
              <a:t>I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6349998-C1CD-46A8-8763-BC29AD9DFC41}"/>
              </a:ext>
            </a:extLst>
          </p:cNvPr>
          <p:cNvSpPr txBox="1"/>
          <p:nvPr/>
        </p:nvSpPr>
        <p:spPr>
          <a:xfrm>
            <a:off x="3701143" y="3574173"/>
            <a:ext cx="44849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 dirty="0">
                <a:latin typeface="Bahnschrift SemiLight Condensed" panose="020B0502040204020203" pitchFamily="34" charset="0"/>
              </a:rPr>
              <a:t>II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E8436B5-8841-4759-A8CE-C2BB35954F8B}"/>
              </a:ext>
            </a:extLst>
          </p:cNvPr>
          <p:cNvSpPr txBox="1"/>
          <p:nvPr/>
        </p:nvSpPr>
        <p:spPr>
          <a:xfrm>
            <a:off x="5792475" y="3574173"/>
            <a:ext cx="563505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 dirty="0">
                <a:latin typeface="Bahnschrift SemiLight Condensed" panose="020B0502040204020203" pitchFamily="34" charset="0"/>
              </a:rPr>
              <a:t>III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C4E9D72-B8C7-43C1-9DC4-06A89FAAFAFA}"/>
              </a:ext>
            </a:extLst>
          </p:cNvPr>
          <p:cNvSpPr txBox="1"/>
          <p:nvPr/>
        </p:nvSpPr>
        <p:spPr>
          <a:xfrm>
            <a:off x="7929152" y="3543917"/>
            <a:ext cx="583477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 dirty="0">
                <a:latin typeface="Bahnschrift SemiLight Condensed" panose="020B0502040204020203" pitchFamily="34" charset="0"/>
              </a:rPr>
              <a:t>IV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6A1B4EB-3115-4226-B000-2A1D0E3742B1}"/>
              </a:ext>
            </a:extLst>
          </p:cNvPr>
          <p:cNvSpPr txBox="1"/>
          <p:nvPr/>
        </p:nvSpPr>
        <p:spPr>
          <a:xfrm>
            <a:off x="10156371" y="3543917"/>
            <a:ext cx="431074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 dirty="0">
                <a:latin typeface="Bahnschrift SemiLight Condensed" panose="020B0502040204020203" pitchFamily="34" charset="0"/>
              </a:rPr>
              <a:t>V</a:t>
            </a:r>
          </a:p>
        </p:txBody>
      </p:sp>
    </p:spTree>
    <p:extLst>
      <p:ext uri="{BB962C8B-B14F-4D97-AF65-F5344CB8AC3E}">
        <p14:creationId xmlns:p14="http://schemas.microsoft.com/office/powerpoint/2010/main" val="31511581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10" grpId="0" animBg="1"/>
      <p:bldP spid="12" grpId="0"/>
      <p:bldP spid="9" grpId="0" animBg="1"/>
      <p:bldP spid="13" grpId="0"/>
      <p:bldP spid="8" grpId="0" animBg="1"/>
      <p:bldP spid="14" grpId="0"/>
      <p:bldP spid="20" grpId="0" animBg="1"/>
      <p:bldP spid="21" grpId="0"/>
      <p:bldP spid="5" grpId="0" animBg="1"/>
      <p:bldP spid="11" grpId="0"/>
      <p:bldP spid="18" grpId="0"/>
      <p:bldP spid="19" grpId="0"/>
      <p:bldP spid="22" grpId="0"/>
      <p:bldP spid="23" grpId="0"/>
      <p:bldP spid="24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91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&quot;&gt;&lt;elem m_fUsage=&quot;9.34156719520534117862E+00&quot;&gt;&lt;m_msothmcolidx val=&quot;0&quot;/&gt;&lt;m_rgb r=&quot;B5&quot; g=&quot;1B&quot; b=&quot;4F&quot;/&gt;&lt;/elem&gt;&lt;elem m_fUsage=&quot;1.35085171767299283552E-01&quot;&gt;&lt;m_msothmcolidx val=&quot;0&quot;/&gt;&lt;m_rgb r=&quot;1B&quot; g=&quot;26&quot; b=&quot;2A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3QOtComOWRZrxznkh8z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_8Vrbdq8PEYdT3pfpgm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x_qGGMahy4Eck2Y.XfY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Tt866zj1.SoQSW8.ROq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8BLx3Z2NL5OZ9gaWiTE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rAJven1NJUqB9CPdBas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gtRM0G_y_g.boFhGlmh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vivSAe9N0DjGU3MVy8J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k0TiWlo3v22fGFocWVJ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mLRzRqVhbw4dD6cMiT_S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Jgwx6_PTf9L1wHNEydQ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xK9yq5EB2Lbva2Gg6PP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R9PrJ4cnB212BWMR1V0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vek3R90Svg6NJxjU16f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DoN5Ordf3RbnbD6lIkc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vavZS3xOwNRUZkknFfi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aLY0Z_rBXUftnTAuVZ.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oK0zUHDyECBpsyUofmF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UhsOi50rs0KsGjFL7if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pxmNUB3t8x1AW3TbA7n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T0zo8ruOWknd5UQRNrR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fUGV5EHZsevoNwJ378d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xIr8ZKhzRRomC2jRunVA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DequlghV8zZZslqwHeD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zl4b67Yx_v3BolAQahw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UhqbwJgeWh76PJ.ttpu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h5ypJN1OJnqMBqTTrYK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_1ctiYvC2pRBi9LfELa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i.i.fo1op1uQ3Yx29cY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ICWKuSRtFRe1pc_yBps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6KjVSoqyQ7ftW60nrgr.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efcMtUwW9WD3WZnVvhBF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5O_cFQUrsQgI9BEt9De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xej1IkYZZGm2DT_W39W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anIfGBHznJoLiTJcSiP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Dpd9H3Cwwjz8bbSkVDI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LXb.13YJZzrilrhgEZwu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QPoH3BmsHuUiAkW1nwn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R2gRIgLQ_Wvwv7xY0hh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tVqL5DgaZw0dwO6O7ni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zAnJuEHxFb2ShwMZMYQ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9vdDHBSl5B5Ik8nQDA1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583kPhJNocMJkTRNCu_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X8Ed4lz0TuuArubqhFU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nv7bkeVH.o_OHp_lFj4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Wjh6wTUoiYaSi45Lx3RK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QWhNwgROO0U0xzz8A.m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zTjBMq6srKn_4NNCUzj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9e.dEUqiTYcb_fbnVIf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oe6.q3aoZ5KcBuTHlyL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UGqwHlsV8lXqdqgLlO0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7RQZY5A7vXTVrYAaq4O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j9X30GcppuHNXhA1FQT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u1rYQ9mVBXzY4TEUWT6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kpjSc3R.RSvolFmFsyI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VmXmPAPPcaS2.m4DLKw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uQ9SzhG7.XufQoJvB2i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iAxwpToZV2mXAnndUHX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tO217moMfGQTViVAP5S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DS_HPlE.u.8kQsPPHjz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56XMaYwUkHwH6UVPr8g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Z2rNx6LOZBGETN1pMgg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Xf_EjDYv.7kyQZhp1Uq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qtZGshpsZWRLo0ykDGG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P1m8XAIzjUEeRBEpS8q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e1QthTmwXDA18ltAV1v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kGOJ8J.pH9OY_I1GhHW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yeKUUHPWQJBnH6DB9rV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8.OwFnvseRUrGMkjqWS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gSYrI.InZjuc1y3PBb_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3eosC90Me1e5gF32cL6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J9aYbRs_MqtJUnTyUvb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0N2J40y16aAp3Wc07s8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jbQJJ7_7IIErYooikx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QGiUm78OplhxwX7nBgU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5oYz.XTneV7nYWFK4nq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V46b0cTUDzdeYryvLxd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X60lw1BaX8PUZZOsx5k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Tsk_GHYVaiykthDZ.Vj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g1D0M2WG8Lc61ydt3tN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3qkmiEoLnyJwMw4_aGDK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m5lwlP5TN5MGDg8u9hX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8gxlJauga6DRoVVfJgE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6OalGsIxPf3sBVrWnXI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2XtwLmXrfj2wEUUvrbzO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RfP3zc2ThC9jEEfdapW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2cFViCDiXEdUbtmH7W0H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2q.ahhUNuZTvv.lQC0XZ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1On6Dw2zcJwtT2aRsQNV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g5Z.21FIZUiProxDNep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IY2_0886EtuvM_6Ajt8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beUtNGESXLp7bB9IfFh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.KbUFR9lNK4aCyP7cmE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b3a946_rVHo3zSQvqhm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Duz68oK_JoUYu3NdcpV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5GdtweSsLNGNWSp.Y3te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C7KAItfwJ.QnCYcy9Te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AgWAy9QVPfgAtvATS58z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0KLR1P4Pe__KfEZcaqW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aapUlVKr_tZq3bsy_Qy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jprOprsSv.AQtS8N96i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0.lbph_vGyRLFzjtvql7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r2q.zYaZAMNFqJ3sGj5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4qgMBXJWaHMoqHlBI3z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B.tjsDYf0T5R9YVQFmD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E.Lkr6gbz5Dd0lrXUoJ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N.tzjC6WelNjqkRrez6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mm20bF17JjGaEWjsQCg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nCwlSec.5QpkVcVVEjJ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jn6voewaWMMh6vdso6i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RjLMl4GpnqSeEJ9fcUw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qAGFB2TXs1Cn0.Yzpyj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CTfaeCmI46T3Hq2VlRi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wKiimv4zc6eHjDhN98w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6yYuVSs2LA0jUZU_txo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zQWnYxMp9vIfdGU7pJq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2OmH1Q_8dq_uC.75W5a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b6NU9iAD72FmRNBgktd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OMxLoTmFbAGZBKJiXCj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aGXVohMrhGZX45WaHX4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ZpnUb.irMwG5M0qXdIq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bgX6ZK5bnKGISeqfEzH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RJCS9k.k2paDfxjLyl.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8ka5voZdsh6Nx3oujU2l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9TAwaCXTZOqVXEx5GAh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Oqlx433kp57GDbekPjn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ol6.alQMAVyvTpidDPJ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8LgicOY50j9VnRh_Yg0k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ggRxhMmtoNIDlLie..a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2lz92U8Mpe0iU7L113aK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oCEAlTIYZV0up0D38W1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1WRxifiAiEo_PzCYEflZ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T_iJPI2eElSzQ32d9m9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xg8gzF_JT4.nGBUE9Qn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szThd7yAj2oxYKbAnz4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Go27fgG.rZoxyf1QQQk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BRvn5_O.9iUrXhD59gT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tB7WVjCejaR4IhCerfD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7iJdx7M6l_U_WoL4arp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PxyEhfYnCs1Nrz88Iis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fieh1BgOkk7syDLAj_Z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zyxTQR_BL3KWkf31DxH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.cDvPV2a8znbKM0W58mM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LkNmgH1JZgaLgD.KgwJ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oA17uioKffxD7OL6uUm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41k7EuJ68Q1Ei..AZFc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_CRJQHA8HianGSc2_1t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sxkJHkUFSlIueDbL8EI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Q5.KXvOMhFcyGczU5dzP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u8y2ay1f5gfeJldCjik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.EtD___TH1_5oakdHQeow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xDHcNo4tu7mdUEPTrYP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usPrfk_72XWLxCMlHdH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6i10d7.0GKQPtkHGgW4Y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5OJx102c1chR3erf0gY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2LmBvxq0ZkYA.zCDyEtG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9q1dGE3NrvzfLZg_CpC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ujx4dQuNRMlxikz80hA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0_0JeSS6u0oNSgMQi5D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q_GWkBbZHlHqCSeHeiz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37dspZ5fo6kgXZ9Qubs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aQcuOyYmHrEyH9h3PayA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Sr3.hTeXFi2Njpi36vM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S_zwI8EaCsdGcgXGwGp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VS8g1Susq60p8.V1D7G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RhQ6Zy0W9xWWUaTaUpk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VJd7tmNdoK2p1UFGhi4w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2CN.uDm2dmj8renkkgG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QcVm8xbfEOlX9BbgT5gg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eVIEoQ1VBMC_dqROJAq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IhqEBYQ87MzN8.z_6bE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QFLXLDWStOxdLp9nDYq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IBWiM2PIk9pZtrgVPSpw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JgAZWS5cr8EJpRw4e9oQ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8bTx9VbxTqLOWCcoIP8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86M3D3jrhBRNOKLsIUsdg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Z7PaNPK02j777Tcua49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vYjSgL6ilWDiIeT51xsw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VHXXqAkYssrx6J2frpx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EHrKp8uv8Rx6WQJrVyJ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XiccEZMOxU2HKtdV9he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wX8e48LDnTN8U43elN.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hsmS4L5lZrTCWi3ZTQo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fh9uQqX6JmDb0Me864kg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R1kI8ssyRiyksDzikG6w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ZXFMtlg_AqLRwrolCweQ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94MBv2NMvU9C81OHX0Vg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9Q9u3b_S7WCxLOocXmMk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s9ohgqAszazXKMu0AzJ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CJP2axd8HwMJQQ59pu_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r87c0Hy.tuLs9MFzJwD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nWucv.Q_oEwG5e6mqXwQ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iALu50tpxPEogJeq5c3e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b3TF52yqCUdaitxhcFz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dNw96jo3b0QQImGeeO3A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uiFu.u355fjRkrB4YNsw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f5H7IgsEAaXdmJZ7Gz_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ukvFDEt0firLr6V_agDg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mMdAgaxZlmzdGNoDvxbw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TqGNdkDGCwD3ZS.6HykQ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wXhZz20bp4DYDZfP3q0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DOvVeARjlbvG5lbBmrlQ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WsBrg7sqLb_kptZ5id1g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z_mLS1gQrVbcTe3X.8m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0vawXeu.L9n562Sk_4JNg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cXW2TFaCkGlVYm4E8PHA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Atn_bqQ8GBRpzzrxJ3F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Ffij4cSv4KU_UfgGjdWQ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Q9UG.QMzxobD7a7Jr0xQ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3sMgnLRSRwb0CXQliXcQ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kMPvXkW7Mqpa07EfZ3i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K7n9t9WC3mR9k.QiWmQ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U5YvU0sJNx1aILlOo09A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H6d6RNZ.WjNfDffM.3aw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aJT3qPFteDN89riV4n0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iY_ny1YlndE5QRI4HAd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Ge03v2vaxFk9ftgHfHWA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Hto5PYIpxxkTqWoY0oSg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.3bLeQThLcrj24pvW16A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pzYCifB_ohHRopyEvuKw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dQPofTu6ZCxqmNeB05nA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JiNvAVtJOX5gb6QA0rmg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H0z3aDisstAzaqUCx0b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8LUuHgEw0lWJ3ake2E5A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3XzhU5y578JgMJUHbuDQ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Vlhv33X2knsKlrUTNMbmQ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SSTwa9cklOCCQM_O5FaA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DkaMB7Q9TGsPfFYF.DVQ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LMG10EZJABthhplsOl.A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EumEHJ_Rm2e4hIJHE7Hg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xT.g.99RP.AfTwWzxVN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XhETJ4DpwhDx9EIDuxyg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gU5MH2X5LM17htHYjVCA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aLXNgV3IdPhm3DDNUTk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7QQQqb2wNkXgQmRU67bZg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xFIKPRiXydXP5fXgiBCQ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vLp9FCkofURUUITePDAQ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2oOOTWV1u6AXqfu1p1sg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5496BGH.49JV6..SR2SA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9.e9l5jNQ6urdxDNy_gg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d4xrii7Mc_A_ijQd.XUw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DaBRYqqeWBti3V9VFg_Q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4ViADlf3R5CdBsz5CLTg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3eu.wQOavmvWB1evQlD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7bq.PdTKlDRELFSnjnA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P3a9BkjJnfZHBg1LnHuA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UaK5xdikyRZ_P9HG7w1A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JIsIqWEMcKd3j0u6VBK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rr22fmz.olFBqFuZv8sA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2_tEbxb2zzlfjbHq83PQ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MU9LLRogPqGEbOX5WHd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XAI4ugDf0MZ8BnbRslUQ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gOuqDtRr2ChwpgTsJSAg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n__gBdHMDRA4fADx3fR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vVbRrMVsfqV0TTNPXGw5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boBYN0fC_UxwkfJpRks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Vi92R8Djz.K8n6ymnbCw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tukY2bmgn27lXrQ42cMQ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0SzQ6cQ6P.b9cOMy.9A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stJ.4qzaJuX7t_qtthCA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VEZch4zmtKMQN84GGWjw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AYxKIoVbXT3sdKdFw5mA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_IaTvDbHcVtuKnu2H30A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DoJToTHso5E.Ow5nExbg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jNg2z1XFg_im6SSPcf2w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CWSmDuNUPnSFBTtKW2T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tj6RmMzmL8RnAJXfkOx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sH.JVZc_BbddRACC2GI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DyFmBV3dakwi_hMVmWUw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hrtJtpaq0HGhthw1XW.A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AEbowvzQlFB1J1EZDh2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pf8zUadn5Fpty03h565Q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qFtaGzGsZzMlEOOO3Y5A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jnS_msXLJ21rfiJuuDyg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yBbj.QJ6RP3nBhS.uh1w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c1sIAOTck8G5av_lbcc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HZ6shhid1QyRyKWM7j1Q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4FKwy5dSjVRT12aZ3oY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byLwyxPcs2lXbkZR8aRg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AdiQCRIrVzuU49LKi5PIA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CyvWTjRHMyXLvpTMthBQ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JDKAW1m821Lix.Yzp88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pmFHsuFG1W78FAabEnBA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5h.RJsbKkBj2C_FIUVuT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Vs2CeYuevjDqFWjb5NmQ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Q4wyOpNftCE4u9W00Qqw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VTOlMF.EaJEu9ZxVQVOg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kCTk6oX3XLKJl2Js6ui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c0rSklBuQV3hzlaWP8mA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RFmGiKadP5lt1mpktsww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97sq4pUrMnYdjTZgaLpTw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4RnE44T8Q8422Z9TrZHwQ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v6WkkUxyFtB_KOy2qJwQ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25uCAxNHrpi.9ZCYLY4HQ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Ir43AhFFKxEP35eTug0g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ScdpD5URThck0TS7yfqA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3d5Xh5FYGMH8QUA0h7Jfg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okhThWgG2vr.BHmaJM.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RNjlPW6QBbvcBM1ESyTg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i1L4yhQOgKP3rN3NeWYQ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0flnM5_qmeBvY6QWkZEA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eGj_.XBBN2UY0VDfyPDA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phh3rS9Aax3eLelCYvcw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.TGI4HkRKTxdB3D3gKJw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PXqHkIGiiYXFJNi.UrVA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pcNJgtbcdD2aRyELlt6w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HO2T6Q1PfMC_tMF2XgrA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csEU2Fik._uffGzJHZzQ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V66TYv9lx8QtJ7YxMo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OuJXlSOw_J_06mLarong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dWMvL8aZtZ0v7Rjhl0Qw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cvfMmGckQ.sEkjBd5Dlw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kd0lkazw50dz1DkUwGYQ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DO0uEjeDvYIiAyA2Ygkg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ifPqStp81_sKA62.8GSg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.tEeJPizRPqm81nFdH2Jg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JsmcQaVur6TL_AMqFJXQ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IR2vK5mtDPMusQCNOg_g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Wzq4Q9fGD_HSfi7KJKiQ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Zf9HfGNe8pZlQpJ82N8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PlozmDsSWsHBnUuOQqHA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A9Wwd8nOEGNPyOC2iwKQ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SXWGpnKpqLVXptcrM3qA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2MIyL3UCluWeKakqKPfoA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QQPt1KOOReWNG7v3_Qsg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1SX78WIb4V1.og4EpeKKQ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TY5g7izruuCQREAYSj2Q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HZz6UTqW9PmItzuMOdJg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U2hrDtaxsPGi.vXbThjA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SQKatGbv7WnaP3Buy9Qg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.HSYssKYx8NAid.TYHo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A2pplPyiFnEp2ayFUeDQA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UoDZWIq8VNdbEEjOV8hw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64lsENP5Td5lHHKON4QQ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06rnEOv_qJv0vZ3RdIuQ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OR.GQ4VDxWBzzN3uMSAw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oXfeCtKAZ13w.Jh.20fg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5O7lD9pO7Xfl6qUERwxuQ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wLbkXe27Lxgk8m1fvZxg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6s9X3Votk7vpqWjkE70w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YJ1WR54qw5fVMSNnLKeQ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Ayd0bnJ6Wtp2qraXgWb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7saayxOAls72WO0Xj1LJA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qG1qTNWoaKc2dmNGuMIQ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Ox9JF8wZvSKKdeRry8Vg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12eiXeNIDZlSRLnxttwQ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4SFvB09Ea.URFduO3dBw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gN2QL34lW9JliKfXOelg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0Yttb88EaQRXwKblPIDg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seQsy389SCWdoiqT.i1g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jJEKraXq2pxWrCcksJ1Q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1__3SPLlwcH2lrvbNmE2w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dhcMl1IxczblCLQD21o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h9Uole.CunA7eUaDLmrQ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uskg2f7z0B4abwwtb0AA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WAgbbpnp7BwIvUM6BWgw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p95GC40XrGRkYNDxTBkA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5UTNHwauoXm.8Si1hzQOA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a8a22r7sA2bK8vLZf.yw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_aIZqtqOitTzNhCohbEw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Ug4XBhE0.O6e5SChwTNg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lUDqrO_5G9P4zFidBE.Q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jBF5LA1paN1vrE80OPK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RiNBr7xnnp6_cByI7ehg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FkMSCFqWluJ4fduHt3kw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Uib0m6oCM707jWp6o27Q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1JiXdqxSgHnJF1k0KWKw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d2gU8P4STIhpYnITKeVQ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70xYPG3teyInEnnyaCEhg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lQxpSAUVIXQhCggVR8Ig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0WynfxgoFEPm60oaJH.Q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l.ZckJEyJC2K52fyvZCg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2pFfsNIpynjb2iwymTxQ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EkIKdsnRH80Q7fCWRcO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TvrBbmV_pv.BNcqKZvyQ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tW054kg.7Nzs9OyQSGkmg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T9OtxgyPe5MhIBehWtAcA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gEBCND6hbpk6tyhFlKxow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XAQLttuIaY2zlX63amPw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4fiPFehbcWUAx_2119Aw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dd97XpmKJUaRJiEi6VsA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POxIqNUmDe9JY9wbCPeg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asDwGbLVy6omiMNqx4AA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Z7eA7kb68nAqbsrBuiJ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fp00mi0Wpsx9mYeipaRA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Rn2l0J0R6pRc0hI.CFrg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QLaAxPo4EPKCT4CDCSXg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tzzNeulZstt1iNe1uKGw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xx704AGjpolgp2vvnP8w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QYzHG4ujsH4keXf.ordQ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zod.E60yYfuBZmds1xog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OHrMq.YWKp6a9P1o5CpA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P5muiu9Mu7NE9dt8H1pg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SF_..1Xlh.Tk9NaodePsQ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NfsixRWNoQH5lyIF7CL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Dpl78C_RlBZfQpDGW5ZQ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PyNs1_xAdmF1PkrKbCUQ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0cEa9jLK.aAXHMlnfnlQ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hhYXfbWN2gjR4Ec6Lsjg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5tYB3pJHH2BcbAO2bBwQ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p5j_dfw1DKa4T01twq_w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ExMojRrJc33jfBB31jXQ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94CHQIOtzksk6hX5INFSg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1nY6f0lOESpyL2CeF46A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RmNxtuNav2mLBEeuGzmw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MtULNJxkqTmzmZs_pvs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HcuRQk0News.Tb1NqM3g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IfVq5is1DEB7Mq6bWWNQ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ek1U5HEbK2WJu.fu7H5g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6c.UDH1Y8uzMVAeqhAs_A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QgkWXFWC56NoI4.SCMBQ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4E3QdiDrNe6uQokr18hg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k37dyDhdtSZZ3_wpWnEA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feAz_JlM12poGRZYOCjg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5BsSCJ4cfHuq5Cm7CC0A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6FLfhpSOngkVhKDNUbDow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.bBfqrK2qgXX.HqlGxhW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rJO.iwu5Q2F9qunPKVBA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IBoUwaPXteDpL__6LUXA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GbSohADT9VyzBv0gYScw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vvpXjjZ1SmtKY0lMe26g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F9BtL3AFIijP4DyDVrtw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d9Fsu3CArHed13kjAPYA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TLVXuYp0mcsDZsSW9BPA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Te_yFU9yruHFffZ1qQhw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djiqNa2uI2qj2JLQUBLg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UQNYQq74tkgCeIobAvjQ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csX.WmulCyt11hOqfXs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Fr5jB522lGFqO8x_oF1A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SzhT0doOR2Y9Ok0TB0Ww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J3SoTH8AIpJQjNrOVMDw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qm2yQlBzOZUCQrvSQskg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Z7eA7kb68nAqbsrBuiJw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xx704AGjpolgp2vvnP8w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Rn2l0J0R6pRc0hI.CFrg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tzzNeulZstt1iNe1uKGw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QLaAxPo4EPKCT4CDCSXg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P5muiu9Mu7NE9dt8H1p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8KsbGAVIX_YZlp3aIoc3A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zod.E60yYfuBZmds1xog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SF_..1Xlh.Tk9NaodePsQ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QYzHG4ujsH4keXf.ordQ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OHrMq.YWKp6a9P1o5CpA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NfsixRWNoQH5lyIF7CLA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PyNs1_xAdmF1PkrKbCUQ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0cEa9jLK.aAXHMlnfnlQ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5tYB3pJHH2BcbAO2bBwQ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MtULNJxkqTmzmZs_pvsw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94CHQIOtzksk6hX5INFS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FyC6FPp5.xsBr0FP8cwg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1nY6f0lOESpyL2CeF46A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RmNxtuNav2mLBEeuGzmw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IfVq5is1DEB7Mq6bWWNQ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ExMojRrJc33jfBB31jXQ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hhYXfbWN2gjR4Ec6Lsjg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p5j_dfw1DKa4T01twq_w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ek1U5HEbK2WJu.fu7H5g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k37dyDhdtSZZ3_wpWnEA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6FLfhpSOngkVhKDNUbDow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QgkWXFWC56NoI4.SCMB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wdpgKGDIZK9VRZ46BuSQ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feAz_JlM12poGRZYOCjg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4E3QdiDrNe6uQokr18hg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5BsSCJ4cfHuq5Cm7CC0A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.bBfqrK2qgXX.HqlGxhWA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6c.UDH1Y8uzMVAeqhAs_A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vvpXjjZ1SmtKY0lMe26g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F9BtL3AFIijP4DyDVrtw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GbSohADT9VyzBv0gYScw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UQNYQq74tkgCeIobAvjQ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d9Fsu3CArHed13kjAPY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dehk5lMmA1FsSEYms9Cg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Te_yFU9yruHFffZ1qQhw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djiqNa2uI2qj2JLQUBLg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csX.WmulCyt11hOqfXsg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IBoUwaPXteDpL__6LUXA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TLVXuYp0mcsDZsSW9BPA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J3SoTH8AIpJQjNrOVMDw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SzhT0doOR2Y9Ok0TB0Ww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qm2yQlBzOZUCQrvSQskg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0xPeKxsfuQ89j5_d_Cdg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b9_PJRsLIx.5sf9OGNc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dxn_eKMdRMXap6u6NN7g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Wsr94kt4FGkqGeBBwOzQ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R_FjkltwvZQ8oy_1Bk8w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vOcTsUviPkQXeG96TIgQ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hueX9yG.2.wpuhb0vqug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Czf8.h5cOUGZkQJyTBrw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ygO2YcLR7w2hm3WunHvQ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1HclpnPdNGtjuZc1fNAbw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W2yNBALx7wRq6KfxJ4uw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sUanxnxP4H_yGjQUpwig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sungctp0j3jCr6WDd1w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oN4qg3N48Kandfa_iAaA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LJVcL.jZuQPdpH9pH0_Q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scKbrH5TdwYSUEPghJfA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ominfvs7CSAY_RQnbc3Q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g9KyewcuyBmvOqPqDcJA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QtvLFXmmrmFIgpZujreQ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PlxeTnVigS__a6hbTMjg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j3V8d5r9txY5hU0UIVtQ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ED3V8oAFmfZqgZZZIsnw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xSBVlzhcqravj1XzQMpw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qvsU73hxewx5oU.WD3r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DTRsIgotmZUBc1fFx6ng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UuC6ybEY.24MvLR6B1Vw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8XuGDU9BuCrYa.ghj8vA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qj94tSiHw1cI7MTUleCg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RWWbC.ugZgzTTOB5dcZw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i3Fj3e.E8bFg8LKB1BiA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cUjfc8xFFRWWPK6txVWQ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_Mo2i9I2KdkrJgxJgqUUg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8h5Bng4Xjy924BIfEcAk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Qlp.C.xQStMvkSoJVlTw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Birnj57xjfk135fOoujw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mDld4KgzOEZaTe3ITovw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zKlW_9pAD8y19ktErDFw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E_9vlCHp.qa2_x7hV8gHg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F5cJ9jrrn_N8Y6iIQeFA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tbWwnEx_hSp_3t2PP3cA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6fhe8FwNFkhZRj.kxiaQ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WeQ2LTCCp.bXhc4ZReUw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8WvJgz.SjQyZMgMZIZ2w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Wc1O02EhuOun5L9kdzf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18OtoBmUQO_Tyah3UX5A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CFUyipnwQ8e0VTeGnlYQ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5Z0YRat1L98Zt0Od.0FQ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nfrHUuv3lun99lymTStQ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dEJebjfVnAW1X5FWjzwA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U7SjwMQof0PAC0i0qrcA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NzFU_swE4TXWyPFm66lQ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mwNNIDazrYjNwGPGnBIQ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aCjdy1VYHtlFY7GLj.Pg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6TubyxluwQYz4U3RLgag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8VujyerDcdt.85vPbloY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DM0V3p5bM8Smjf2989uQ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0pdDpVgdEgMaun8V7VGg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eDBFFKbkLfMbjcgsithQ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qYb_expEYd8BEquD_G6Q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f16JfS.rL6sdzS45qupg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hhsfi26tDEel4l.qQh_w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k_.5Muztww1dZ55qm1vQ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s283aa5xA552zgk6Xufw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7gtJ._btB0NPhHuGKlt2w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97tRE1MrAC7Y7pue9yUg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XcqwuiJSIyzqEpVyU7g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x0eAYLTeWm_G3U1_h6BA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ae8APJr4gfAsUX7hBKuA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B_Fm_Ylf_SZWXQ6nu4mg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S4XVzluSiczj4v1u9oUQ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4h5QwxB0REqb6oNDO38Q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NGzRbsePiGt_UoWndWBw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cOPu3TNvexAJtnHmYbLw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U_nHeFKpnVxXOI0vsZLg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oAtZ4384MrN3RCnuMJmyg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78Pc5cbkKqJQ_vrceKIW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rUTbPza3gY66S6UtcfzA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KwBbHuuJ64OFnfZG4fmw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EfYYcXlWBeuGc9Pz8Tbw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86CNuQ0U4rQxONeMnSjg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7bQUg8XtVt7jeMDjHkF4g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6zi57q.hVuisWHkR8aYng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RwxBpMOFoN03rCzZJkcg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.vY.JitQt2IIhP4N2OMg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N_HMKu3ypjtcbvW6lSqw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W.D875IGnMvG7.4OEPNQ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KiqRUPIGx5aOethYfDj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hguxCw4Q0VZ6rufbII6A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kBRmErp20E1.UC2J_w3g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pxbIhxx7SgnGtoNjWAfw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7tRyDnmxvLM1R72z58f.w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OKqqFv1JtIe5h6aSXAQg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oyGACV.nsrj.9QmP3B7g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sBhNxJPKnXOrPkFahpIQ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XFtcUgRdyx.q2ExuLOjg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dRRnGUOauxNVE25lCSmQ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7aiq86oN4zmJmsgh18Og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TrJ9XHS81Ukc98AC09M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1mG3Uq9DEop_aX6ra106A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R4ddLVIOVEWVFaAvhyRA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80aOLJqURBrscEsjaPO2A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0McaZV0Ywslhb4x_XkeSQ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Min9CAvoAIOkPYIOByRMA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_LtkYc7WPE9LAeVQ6oCA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YnDZTKtMWZ0k6_dYNC3A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Qd6uWzpLhaw9RX82U_pQ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InaCOUumtflU1qmaY0oA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7lz2W.aYK8jigBBEsKXiw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AwbXw.VSWx2jEdViekz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Ig.gfzfnVyb3uHJCaJaA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dLhy6idclaUrMdIiTAQQ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RZOYbkhOXqww4YBWdoZw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Mr6HEBuI.cWxVcYnNfGQ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4j750YMMISLWcVTr4OQA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4pm.pr5dzIu1ivtrT6Fg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aBi6GGFxpQe3WieYrLZg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fvSClChvn2tZngql7Hbw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5pjsTOjOPPFMWgk3OYlkA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I75Pyi9f0_i7YfS0Sklw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yMnHSqgbtn9xRfeIhjM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0JmPhR7V42f0Tu14kyA0g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irQwLMwQz.fKGQAplU6g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JBYQOznM5pQWtkRWu_SQ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GQ7W965w851GdZ5fXJu9A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yg3Mw0BS7ct1s4i3fgTg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DqMARFO9xyK_mWIRvmyg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KKZj8dVLcL4lIg8W5jjQ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9Q9gaUGoQx_IfGDKSrag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L_JVBNM1bdTnHKqxrSJg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8D2xLEbvp_QRCrakcX6Q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fXLIZ9LNtiVxIlF4FM2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2d85LQigem66A9Ek06IBA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BP.TALmbTG44VGMK6wzw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ZAcuSNp496gsyJW1VVzg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NaFXZZgiBCmB4aNWRGpw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ijSRMt1CKAcww2ag8hwQ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SKEXP8R7ri3KXV4EqtMQ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xjYLWt5F5PVh7u6fsKrg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6cXLsr6z.Edtz54_mMMw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i8RnwGYZgPJH8MYfrCIg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bnY2wSunjDfg19GpyhPw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gmnwG49p9.ygzIVMCcJ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sEGkhmC2uSnaMwL9W59w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eyCx7uXxZNN8gpCeAnBw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ggLkBDIj5fjV4Qxi.Hbw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1KfpL07jfYq_7XWr3QMQ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VDt6Ym8KZNywMUz7le.w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DEWfvhZEx0r_kg5rHB2w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f9MpySTc5XOn17btlzwA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3_g0Q2QD8XoqHABmGfvA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mEJqS_Fc_mSQzHx2aokQ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XbYhCZxadcbGXle3zv1w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afPfU7kJSeRiEQCtssU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xH3ZxWZIaN1rhttp9lVw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stCxtrAFJLPn3gSrnuhQ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.J.Rs6.oAWkq3AhIXDTw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IOohq6MWY2ya1a7bN.tQ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BKSHvESDmqEeILgbSzw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w.gSkdigfZOZ8luj_zjw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2MWtL1kXYqcuUZ6ANrU8g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lxSH3u_gkLzKPY_.ZB7g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qLNdaAE9O9u3fBEvxnwg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mZuZktkY2l08QvMC6qHQ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D68aNLpyFm7JMVO1aAq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7LwC10CKuyC92xPh0S_hw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_M.iHW.rSd4.0MNVYWuw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1wIFMXOntQ2C2ewksBhA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QLy41V0k7hEim8RBT.jQ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lwA6u.gsJaakRHl7vEqg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R_uCO_8RoZxM2ukEiTiA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cwuKoF40hTuMfq9gcF8w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wE0QCj5frs7ed_8pXbgQ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b.RKd0v4ZQzyU1922oWA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SOi2VxvtMI2BgqvOZnwg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57vTriUayEubryKzXcY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M_Z9wn2IWCU9DupUVRuA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.nJ88oO4d_sNkGpJlgJg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UkfPc5VORi4gc_NnB2uA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j2ZtHKta3NRMseo2F1bw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2gZ54tMPdW16LKXOivQA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mJqbdfFYJOQGRIbXtmrQ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jbdyfk.yjYxUMV_6UvTQ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9W8e6jCrGUDXZQGQQ4QpQ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owWTB_mk0pwdR7FHncJqA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p5YpBp.uoCTADyvLrbCA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76HBhOf9HYCDVwUsneKm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0HqWCb9cV2bOWGGM5KZg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zmTEB0FndjuYgYaQpP_6Q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5KTecqMnqAhuiKX5luJXg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qIbiE3TfHtW_.JXnfO_Q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i3FSY7KuZ56vz8dJJOLA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wDWDrpe4H.ia_BAXjrJQ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tfK_ZXqIP2o33l.ICQIg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HLKyBCQrvCXZFR7yaRgA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5iGSK0yYCQIbHFn0ByAQ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dSj0QfSwnWabTbaAucP5w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DYJax4txK1hMi.OLeFl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8xd_CF53uMxkzUiLHFfQ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i1r6HdR5QPlefWPZG4Zw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uoJdW2lY48bST3Yy8T8w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yO.eQnEAhdHtX1U0JtOg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7tUn0ufQl8gvIxp_snvaw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_a7nlKQAJJNiN0IXTGpA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vaHl7Ihc_8680J17WShA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cfWm.f8O2hIqChWbZaoA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Mchx0b_9UehqRVOOEm0g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aafbLzpxnvJWL3nSEjV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As7DHVYn0fs6.pAnoNTA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KSacSsEkPOaj1rlpG_2g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S1mmMwx07u7Bocn_VuQw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17okFiPs41d676x2ZQog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4ywZTC6EnWNY6b8LApUw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rp7ELxj4Iv.RSa4tU4wQ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iocSJl3z98jia2e1IE6Q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xjeZca4Jaa_Q6KC_bazQ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9vNjtlGU_PuMDJvAcYsA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OrKxHDzBWj2bNw8qYCiw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jsPgXmpc1yXV2por4q8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1XYLS90oG1uRSZp9m2UA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u9NB11tDZYD9Kauqif6g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uiohSfWJ7xOwh0J.J0Ww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VF2MF3IMNqV7x1wpvoUA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0RnPJgMDhrTtZdjHbrTQ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kaJRR_kf8ZjyoI8chvJQ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91oZqluui2OoEQAWeegQ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isMiZn7z6tHhrn94ifbqA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5eGg1xNRij_V7rct7nfQ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eJgaMgWU4LfqhUesm46w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4NceLSSSdIVIsj.DU_3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VNOuj02SFsVb8NU76FQA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8W8TrnWy3Ih631hZ40SjA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_UUTPegjsQYd_9rWfrp5w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4Zy.RYSIlQOGqAlXHS4A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m7V7iyHbdnW8JLq_RK8A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Lf0TQicucaPptvz9NZl4Q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kBitgec6NJSNucJKRmGQ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vO6BZMCut1LHiP3XWxdw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VKLzPDEJA8EcXNSdtT0w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uTnqJZzOFCW6.UzXR_hQ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w9PC73367mLe29ct5JG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hqEYuZx90UIB_Asge4gQ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4LS._19Co3xa0Podi4eQ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UxmS2urURPWOvdGuD2_A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o6KIQ1bpT4T8tqOJBIZg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4Moumxv1akxkcmJ5UOWw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y701bprtixtAU4GbTvog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OK1HiV2TpwSX55Zuwc0Q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WPR4Qz2QMWVwqWQF9nEQ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WT4ZU4E0IUAM2dTWLMrg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u7zfJ999RUyUx4sUNdyA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iZXthP1YCrQeNwXGr_p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1tWHotzPixTsjZD5LY8Sw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n6T6gw6p6gEfY4ke5TSw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yqXUF0vBgzkTCGXa1ubA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TSUvvKg.Vn5EShGxvLRw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asHcXQcENI23iGMDANuQ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g3m3q.u3ascQE9ijDRqg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zCHxnjceVwPkGZPuq_zw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.QxKbhcHJ5OsXbu47SUg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81DAFSDVbO1hSJKcM1Ew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35vG_skquNmlTCInWBtw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gMXbzhe2Bq_nTn3qHi0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Yw33fPWlPbcygfwsqYPw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mRdnBPDhJOgIMhF._z3w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4A1id1WUtP8c3b4ajgfJw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3aggfH3h2zKoZYLNQEZQ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f1fVVVhG85G0ubE78h9g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66Yc4Q_t7im.eS4.k6Yw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6TOSlkeBgIzAaxQKJCMA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eHpc8Vk4wdxg08FIHCEw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TIimWe3eUnzUipFPpQQg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iaoNQIrHM40tg_B79x4g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.L90Pn.mWRDSRDFydftd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YCRIVdrJ9r2xeGbixdBg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zDPb8cuPwI9T4pQl3SoA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Z1adtI2uKg.x0RZ1GQLA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vVVVKrkvuc8AfnWUcxKg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v3dJcj8yRVhxKg1l4jGQ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rmiOLc1xD0MxEEFOmBsA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BV0ZYEKAqf_4suqIRP3A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Eo1CAkTNT1mTNcjWOMCA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4OQd6UC9fn2NoYLGGx0Q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9d8pSlRHRZ0f1srYLuqA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mQFqH4Lo3DVQUB3Hn3R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9OL0vpgbLqU7hbpreKc2g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nVA6hRhnTO7bi0LJsOXA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eGuMB5EGhpUhjrTpnuGVA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xgJC2t.7Ivewi3aI_vWg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F0BC4Z3hR2ytSWR2v2Ew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eIopm7xFhw7GL1LWUybA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Ev4jLqTixj6sSNE9kOZA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Ty_GnCu6Mj.f13cEtQPw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Ddy0Y4w_peEg1pezJcmw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kgfkV3o4ZTdMChxoWxrA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LxOeDkhzduEBxrF2zX6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d0BhRp4LvJQRDRfweBiw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ijwK8zXCTMGPUm_UA5LQ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fuW7wnpeAFoxZBvIL1Ew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KEJZ.N7_Oel.h.46BEhg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pFseXl1cxrSiJGfwcBOA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Yzo6NcS4Kp61xrOVx.bvQ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Nw7.pPNeDRJSp8O7j.yw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6x6uuzcUB_DlaxrTKIaw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5Nm0Kxr4R_tH0b7sE6iA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lO4YOjuJjXWu77CY8KvA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hi6DH3l4lcuGDE.2ZId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FTQn0k6cQiko7pMh0IZA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CG0CSDgx0py_leTmhPCA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6GyQJ0RN9Zhwe.FFwWc_g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N67jCkPcLk_z_U1oOHsw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TeVQ7O0PM7ZSaUE7G6gg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IWsXqjhrnp0hUFnrQnlQ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UyDB8aB0Tivv5MrNUwEg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fQDgM4cD_TfkpLwUQMGg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GqBiZCGvRJyyNCjTWQZQ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n2f6DEJif6WK9UxbCU6w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ehOlD.KG2UevtcLAOv8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OB.jhflD7QILAYwuR7nQ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rCwIXfoZoGPpRIO5o8aQ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6Qkxd1BRMa4JfCcJuCjA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.AKsIP.CzJQ33RKLDEZAA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ZhKLh1dBjOLVkpm1mi3A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6SndpeKEdybAo5sS9ugXg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QO.poD3FYGwZidXt2lRQ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xLM11TuLALsQw45SGthw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Ujhh6.6PMM5PmZrhulsw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OG.h9DaNRffSmX3Nl_6g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qLaFETvDQRWZdkd.UNk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8bm_H81aJP3_wVnFq1EeA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XRjKsVeCm0Xx6kJFoFyQ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5fVcPInehQ5F2ePPr5qg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W8H54LcMxh33leJ_gNrg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CgSZIKzHTaD9NfbMcuuQ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i8LroBu9Zy5WQstwySbw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sAVXpkhVM4dp2JlFq72g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7CIWdkAoetNu6w0p6Hrw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QuvcyErqwOfoA.qNn0_w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VB_bgE1ejub._0y39Y_A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OYADB9IVNFJYhm9V5Aj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XwjvYtyU99Z2a8IUMJQA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MvtltLnJni3vtDixEEFA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rY4avFgPSa5R.xxIkg6g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2bSNHLvoAdiMILepbMjQ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__d7gTigiw0loiQRyXNg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BLzl0VjcV40Vx_UJxIFMg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km54cLg2zmyvLKxC7Lzw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1IM5qZURrefLhpPCWJUw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TggkAlSo1_GuurmoM7KQ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OSZLYNDEo2q86brFzYw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SDvZoS4AXkfoGnuajWpA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FFalzaEgXLooZKL7MWtA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0D2SlnYYjpq2b67_osxXQ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pb7X253d1o8t4hZJkwRw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1pvC4RwjCmWKY9nECjGg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0gQbfS1HV_6Mjvlqf4kw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F7W6puiYx_lUFWDqXeYQ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UhUHKyhmuSHGt5zEjHtQ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30YOT6h9zehb72UFT2XQA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qo5hh5TLD3Dx_FfeXBEg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6Wiv4626UcJWAz7i1AA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w9aFEbMTy6RPrGHj_mPA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RljBHgsWMWNEVR_Bf6ew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fcyvqddtct_HAadUGfXg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Ejado6cMlOz_HCW1MtzA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tYl4FXarXJJSHW8V5.fw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vZpmHP6kvtykewx4yWGg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myD2_8xc_t.GXjQknGTw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MaeYYvBPmlNxsc1IIyvw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MfxtS.djVp80HuYIsW.w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4ILHndgsmubkPwByHVwA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insvnePYfGJ5YMFOSLW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f9iSFKYBMFqu6oj1Nyug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b6o2m4cYfqy4w1SyFhJg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j.qVgISKilANBxnGX2SQ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7s4269sgNZ7D0EPXOjjrg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GwqkNtZc7y3Y8ytiEJMA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pUW__iux9jDJX29k4vlA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4i8KykfD5fzspnEyKm3Q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UribCeIus0001Q3lp.Dg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7B.0801vu2P.EE7O6bSig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hITcnmE6QePVkEkrplCA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BvS0iLkr004ton86mL5Q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z2t3UIi0aMRPc4VHXC3g"/>
</p:tagLst>
</file>

<file path=ppt/tags/tag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vWnicg7dixihL0kPICMQ"/>
</p:tagLst>
</file>

<file path=ppt/tags/tag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uPDrUZvFaA.gK8n2we5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pku3WZp4MHwyRYzugiD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jM_SQ_i5OV_fxTx9Nja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RQFV89VubD_EBj76DT8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5yHbd6dkc3wIV_zMkwBQ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uLJrrrLf2ma1yraKgsB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gv79TflNiUbObhtYaoj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71</TotalTime>
  <Words>2799</Words>
  <Application>Microsoft Office PowerPoint</Application>
  <PresentationFormat>Widescreen</PresentationFormat>
  <Paragraphs>1086</Paragraphs>
  <Slides>5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2</vt:i4>
      </vt:variant>
    </vt:vector>
  </HeadingPairs>
  <TitlesOfParts>
    <vt:vector size="63" baseType="lpstr">
      <vt:lpstr>Calibri</vt:lpstr>
      <vt:lpstr>ITC Avant Garde Pro Bk</vt:lpstr>
      <vt:lpstr>ITC Avant Garde Pro Md</vt:lpstr>
      <vt:lpstr>Verdana</vt:lpstr>
      <vt:lpstr>Bahnschrift SemiBold SemiConden</vt:lpstr>
      <vt:lpstr>Calibri Light</vt:lpstr>
      <vt:lpstr>Arial</vt:lpstr>
      <vt:lpstr>Arial</vt:lpstr>
      <vt:lpstr>Bahnschrift SemiLight Condensed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Zhantileu Segizbayev</dc:creator>
  <cp:lastModifiedBy>Zhantileu Segizbayev</cp:lastModifiedBy>
  <cp:revision>76</cp:revision>
  <dcterms:created xsi:type="dcterms:W3CDTF">2021-04-25T18:23:36Z</dcterms:created>
  <dcterms:modified xsi:type="dcterms:W3CDTF">2021-04-27T05:47:13Z</dcterms:modified>
</cp:coreProperties>
</file>